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media/image11.bin" ContentType="image/png"/>
  <Override PartName="/ppt/media/image12.bin" ContentType="image/png"/>
  <Override PartName="/ppt/media/image13.bin" ContentType="image/png"/>
  <Override PartName="/ppt/media/image14.bin" ContentType="image/png"/>
  <Override PartName="/ppt/media/image15.bin" ContentType="image/png"/>
  <Override PartName="/ppt/media/image16.bin" ContentType="image/png"/>
  <Override PartName="/ppt/media/image17.bin" ContentType="image/png"/>
  <Override PartName="/ppt/media/image18.bin" ContentType="image/png"/>
  <Override PartName="/ppt/media/image19.bin" ContentType="image/pn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1244" r:id="rId5"/>
    <p:sldId id="324" r:id="rId6"/>
    <p:sldId id="1245" r:id="rId7"/>
    <p:sldId id="1246" r:id="rId8"/>
    <p:sldId id="1961" r:id="rId9"/>
    <p:sldId id="1875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E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8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EA95F-62BD-4281-815D-F5078F55AD99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5B6AF5-CA24-4324-BEF9-0F91AA3D7C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446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881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30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577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348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bin"/><Relationship Id="rId3" Type="http://schemas.openxmlformats.org/officeDocument/2006/relationships/image" Target="../media/image12.bin"/><Relationship Id="rId7" Type="http://schemas.openxmlformats.org/officeDocument/2006/relationships/image" Target="../media/image16.bin"/><Relationship Id="rId2" Type="http://schemas.openxmlformats.org/officeDocument/2006/relationships/image" Target="../media/image11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bin"/><Relationship Id="rId5" Type="http://schemas.openxmlformats.org/officeDocument/2006/relationships/image" Target="../media/image14.bin"/><Relationship Id="rId10" Type="http://schemas.openxmlformats.org/officeDocument/2006/relationships/image" Target="../media/image19.bin"/><Relationship Id="rId4" Type="http://schemas.openxmlformats.org/officeDocument/2006/relationships/image" Target="../media/image13.bin"/><Relationship Id="rId9" Type="http://schemas.openxmlformats.org/officeDocument/2006/relationships/image" Target="../media/image18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525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1" i="1" baseline="0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ECE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6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649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292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11795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93633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83147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</p:spTree>
    <p:extLst>
      <p:ext uri="{BB962C8B-B14F-4D97-AF65-F5344CB8AC3E}">
        <p14:creationId xmlns:p14="http://schemas.microsoft.com/office/powerpoint/2010/main" val="28939125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0577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7090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889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354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  <a:noFill/>
        </p:spPr>
        <p:txBody>
          <a:bodyPr/>
          <a:lstStyle>
            <a:lvl1pPr>
              <a:defRPr sz="1350">
                <a:solidFill>
                  <a:srgbClr val="ADCFF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0329DA-FCC9-4892-80CA-3E11BD81F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56F775-108A-4CAA-9245-0C6892D692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colorTemperature colorTemp="2417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482" y="6347673"/>
            <a:ext cx="588899" cy="108350"/>
          </a:xfrm>
          <a:prstGeom prst="rect">
            <a:avLst/>
          </a:prstGeom>
          <a:noFill/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3E954EB6-D706-4C19-81E1-77BF254354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81" y="6241785"/>
            <a:ext cx="811160" cy="21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6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5724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391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/>
            </a:lvl1pPr>
          </a:lstStyle>
          <a:p>
            <a:pPr lvl="0"/>
            <a:r>
              <a:rPr lang="en-GB"/>
              <a:t>Frigg Harlung-Jensen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Communication Advis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f.harlung-jensen@nordicinnovatio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Click to add phone number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/>
              <a:t>Nordic Innovation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add address</a:t>
            </a:r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7585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Thanks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3533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5836E-1E31-4EEB-9A21-BAE7B48BB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51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5836E-1E31-4EEB-9A21-BAE7B48BB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4FED3EF-0854-48BF-AFDD-7C0E61068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5232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44186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6762" y="1174643"/>
            <a:ext cx="10843690" cy="262467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cap="none" spc="-2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656567" y="332076"/>
            <a:ext cx="10836931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415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2262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03113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1174643"/>
            <a:ext cx="11498552" cy="262467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2133" cap="none" spc="-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096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6381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2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D4F315-8A72-41C9-AC14-A1C5A5AD47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6"/>
            <a:ext cx="11328400" cy="4743693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1599997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2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2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 dirty="0"/>
          </a:p>
        </p:txBody>
      </p:sp>
      <p:sp>
        <p:nvSpPr>
          <p:cNvPr id="15" name="Text Box 48"/>
          <p:cNvSpPr txBox="1">
            <a:spLocks noChangeArrowheads="1"/>
          </p:cNvSpPr>
          <p:nvPr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 dirty="0"/>
          </a:p>
        </p:txBody>
      </p:sp>
      <p:sp>
        <p:nvSpPr>
          <p:cNvPr id="18" name="AutoShape 4"/>
          <p:cNvSpPr>
            <a:spLocks/>
          </p:cNvSpPr>
          <p:nvPr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placeholder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ic Innovatio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dirty="0"/>
              <a:t>Nordic Innovation</a:t>
            </a:r>
            <a:r>
              <a:rPr lang="en-GB" sz="900" b="0" baseline="0" dirty="0">
                <a:latin typeface="+mn-lt"/>
              </a:rPr>
              <a:t>-TAB </a:t>
            </a:r>
            <a:br>
              <a:rPr lang="en-GB" sz="900" b="0" baseline="0" dirty="0">
                <a:latin typeface="+mn-lt"/>
              </a:rPr>
            </a:br>
            <a:r>
              <a:rPr lang="en-GB" sz="900" b="0" baseline="0" dirty="0">
                <a:latin typeface="+mn-lt"/>
              </a:rPr>
              <a:t>and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, 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b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or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/>
        </p:nvSpPr>
        <p:spPr bwMode="gray">
          <a:xfrm>
            <a:off x="706058" y="4709084"/>
            <a:ext cx="2160000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6522" y="510934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126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573987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8322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27600" y="332076"/>
            <a:ext cx="10026000" cy="776139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1762125"/>
            <a:ext cx="10035051" cy="4295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defRPr baseline="0"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05E2A-87B0-4228-8A34-109D76EF19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404DA6-8E1B-411C-92D3-46592DBDA3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05388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3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569" y="391030"/>
            <a:ext cx="10836932" cy="875317"/>
          </a:xfrm>
        </p:spPr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68202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50693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1070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Arial" panose="020B0604020202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959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694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5403978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Use bold for highlighted text,</a:t>
            </a:r>
            <a:br>
              <a:rPr lang="en-GB"/>
            </a:br>
            <a:r>
              <a:rPr lang="en-GB"/>
              <a:t>other text regular, max four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1634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BA549-6FCF-4B0E-B9A1-98D3DB53644C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78256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7" imgW="416" imgH="416" progId="TCLayout.ActiveDocument.1">
                  <p:embed/>
                </p:oleObj>
              </mc:Choice>
              <mc:Fallback>
                <p:oleObj name="think-cell Slide" r:id="rId37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BA549-6FCF-4B0E-B9A1-98D3DB536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52F7F8-AD7D-4DCA-AE3B-AB0DE06655D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4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F80C586B-84AE-44BD-A161-4E7E9CBE24FE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7CECAE51-FA14-415C-B699-0B774F1F1C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469CA0-A547-443D-8C66-BFDBADDE5ABF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068" y="6390296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5DF8D1-923D-4D41-9078-72B7F541378E}"/>
              </a:ext>
            </a:extLst>
          </p:cNvPr>
          <p:cNvPicPr/>
          <p:nvPr/>
        </p:nvPicPr>
        <p:blipFill rotWithShape="1">
          <a:blip r:embed="rId4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1478" b="-1"/>
          <a:stretch/>
        </p:blipFill>
        <p:spPr>
          <a:xfrm>
            <a:off x="2052618" y="6352561"/>
            <a:ext cx="57390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050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63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6.xml"/><Relationship Id="rId7" Type="http://schemas.openxmlformats.org/officeDocument/2006/relationships/image" Target="../media/image2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25.emf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4.emf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18.xml"/><Relationship Id="rId7" Type="http://schemas.openxmlformats.org/officeDocument/2006/relationships/image" Target="../media/image2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1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CULTURE GAP ANALYSIS</a:t>
            </a: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Introduction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92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123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lture gap analysis – introduction 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F3BA42A7-DFC0-4916-98DA-9AEA5358D9E8}"/>
              </a:ext>
            </a:extLst>
          </p:cNvPr>
          <p:cNvSpPr/>
          <p:nvPr/>
        </p:nvSpPr>
        <p:spPr>
          <a:xfrm>
            <a:off x="7064974" y="1341121"/>
            <a:ext cx="4584482" cy="2794152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F101CF22-4B27-43B8-9275-612E145A74E9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69585A82-6D7E-4934-9C08-209B725E19B4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C87F12B8-B697-4F14-8A75-7EBE43F76F33}"/>
              </a:ext>
            </a:extLst>
          </p:cNvPr>
          <p:cNvSpPr/>
          <p:nvPr/>
        </p:nvSpPr>
        <p:spPr>
          <a:xfrm>
            <a:off x="6602049" y="1341121"/>
            <a:ext cx="353483" cy="279415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0" name="Text Placeholder 1">
            <a:extLst>
              <a:ext uri="{FF2B5EF4-FFF2-40B4-BE49-F238E27FC236}">
                <a16:creationId xmlns:a16="http://schemas.microsoft.com/office/drawing/2014/main" id="{9622632B-84A9-46F5-B6AB-1FCCDFE3E2A2}"/>
              </a:ext>
            </a:extLst>
          </p:cNvPr>
          <p:cNvSpPr txBox="1">
            <a:spLocks/>
          </p:cNvSpPr>
          <p:nvPr/>
        </p:nvSpPr>
        <p:spPr>
          <a:xfrm>
            <a:off x="829733" y="2950796"/>
            <a:ext cx="5182130" cy="3325473"/>
          </a:xfrm>
          <a:prstGeom prst="rect">
            <a:avLst/>
          </a:prstGeom>
        </p:spPr>
        <p:txBody>
          <a:bodyPr lIns="72000" tIns="72000" rIns="72000" bIns="72000"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Write down company-level cultural aspects (values, mindsets, behaviors) you think are relevant for the circular business model you consider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ssess your maturity level in those cultural aspects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Summarize key planning and engagement-related activities that are required to bridge the identified culture gaps in your organization 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CD31FF90-07B0-41C0-AA43-8D33C2DF1C92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3EDF779-37BF-4872-A914-077016B08BA0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205" name="Text Placeholder 1">
            <a:extLst>
              <a:ext uri="{FF2B5EF4-FFF2-40B4-BE49-F238E27FC236}">
                <a16:creationId xmlns:a16="http://schemas.microsoft.com/office/drawing/2014/main" id="{15274D93-BE90-4015-ABBA-2A3F37DB920E}"/>
              </a:ext>
            </a:extLst>
          </p:cNvPr>
          <p:cNvSpPr txBox="1">
            <a:spLocks/>
          </p:cNvSpPr>
          <p:nvPr/>
        </p:nvSpPr>
        <p:spPr>
          <a:xfrm>
            <a:off x="829733" y="1341121"/>
            <a:ext cx="5182130" cy="135769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latin typeface="+mj-lt"/>
              </a:rPr>
              <a:t>The culture gap analysis tool supports you in analyzing how your current company culture supports the adoption of circular business models, and in identifying activities to bridge identified culture gaps.</a:t>
            </a:r>
          </a:p>
          <a:p>
            <a:pPr marL="0" indent="0">
              <a:buNone/>
            </a:pPr>
            <a:endParaRPr lang="en-US" sz="1200" dirty="0">
              <a:latin typeface="+mj-lt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E2A3902-B21B-4C1E-84C9-03FEC436D99D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9B1A98-FB2E-4E22-92FA-6E9924086D9A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96FB265-4812-4C64-ACA9-3BE02DF9122D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800" b="0" i="1" dirty="0">
                <a:latin typeface="+mj-lt"/>
              </a:rPr>
              <a:t>Illustrative playbook pages – </a:t>
            </a:r>
            <a:r>
              <a:rPr lang="en-US" sz="800" i="1" dirty="0">
                <a:latin typeface="+mj-lt"/>
              </a:rPr>
              <a:t>please refer to the entire chapter for support.</a:t>
            </a:r>
            <a:endParaRPr lang="en-US" sz="800" b="0" i="1" dirty="0">
              <a:latin typeface="+mj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32409FC-F9A6-42C0-A2A6-0516A919A9A6}"/>
              </a:ext>
            </a:extLst>
          </p:cNvPr>
          <p:cNvSpPr txBox="1"/>
          <p:nvPr/>
        </p:nvSpPr>
        <p:spPr>
          <a:xfrm>
            <a:off x="7170569" y="4331839"/>
            <a:ext cx="3937698" cy="101122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apter 5: How to design the transformation journey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678C62-56FC-44D2-876F-9193E5F7995C}"/>
              </a:ext>
            </a:extLst>
          </p:cNvPr>
          <p:cNvSpPr txBox="1"/>
          <p:nvPr/>
        </p:nvSpPr>
        <p:spPr>
          <a:xfrm>
            <a:off x="7214919" y="5602406"/>
            <a:ext cx="1440000" cy="23883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en-US" sz="900" dirty="0">
                <a:latin typeface="+mj-lt"/>
              </a:rPr>
              <a:t>Key building blocks of culture</a:t>
            </a:r>
            <a:endParaRPr lang="en-US" sz="900" b="0" i="0" dirty="0">
              <a:latin typeface="+mj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A959F51-757B-4573-B7AC-737191BC1BB5}"/>
              </a:ext>
            </a:extLst>
          </p:cNvPr>
          <p:cNvSpPr txBox="1"/>
          <p:nvPr/>
        </p:nvSpPr>
        <p:spPr>
          <a:xfrm>
            <a:off x="8959954" y="5597410"/>
            <a:ext cx="1565882" cy="23883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en-US" sz="900" dirty="0">
                <a:latin typeface="+mj-lt"/>
              </a:rPr>
              <a:t>Examples of cultural aspects supporting circularity</a:t>
            </a:r>
            <a:endParaRPr lang="en-US" sz="900" b="0" i="0" dirty="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C23147-D209-4C09-BECA-CC01580BB3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14919" y="4730353"/>
            <a:ext cx="1440000" cy="8112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DD38F4A-29F1-4639-B7FA-D1878719A0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22895" y="4730353"/>
            <a:ext cx="1440000" cy="8112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9520E8A-9647-44BA-899A-8FD7B0FBC27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45718" y="1689446"/>
            <a:ext cx="2808000" cy="157956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B502642-7059-43B8-BFFE-1C94991129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60752" y="2285188"/>
            <a:ext cx="2808000" cy="157956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1613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830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0BCE67B-BC0C-413F-A88F-700B3FF87C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9389" y="1448590"/>
            <a:ext cx="6082314" cy="342143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5E019B-4F90-480F-9A51-1D6DB3627E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19529" y="2725282"/>
            <a:ext cx="6002867" cy="337674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4C059554-663F-47FC-8EB6-4B69BBAA5832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lture gap analysis – example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DD5B9D-D79F-4AED-9A38-346625F08E01}"/>
              </a:ext>
            </a:extLst>
          </p:cNvPr>
          <p:cNvSpPr/>
          <p:nvPr/>
        </p:nvSpPr>
        <p:spPr>
          <a:xfrm>
            <a:off x="323850" y="1341120"/>
            <a:ext cx="353483" cy="4881881"/>
          </a:xfrm>
          <a:prstGeom prst="rect">
            <a:avLst/>
          </a:prstGeom>
          <a:solidFill>
            <a:schemeClr val="accent2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43" name="Speech Bubble: Rectangle 42">
            <a:extLst>
              <a:ext uri="{FF2B5EF4-FFF2-40B4-BE49-F238E27FC236}">
                <a16:creationId xmlns:a16="http://schemas.microsoft.com/office/drawing/2014/main" id="{93972FF5-B5D9-45E5-ADF8-7B30D9627323}"/>
              </a:ext>
            </a:extLst>
          </p:cNvPr>
          <p:cNvSpPr/>
          <p:nvPr/>
        </p:nvSpPr>
        <p:spPr>
          <a:xfrm>
            <a:off x="1408854" y="2561673"/>
            <a:ext cx="1165014" cy="662433"/>
          </a:xfrm>
          <a:prstGeom prst="wedgeRectCallout">
            <a:avLst>
              <a:gd name="adj1" fmla="val -13846"/>
              <a:gd name="adj2" fmla="val -76695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value:</a:t>
            </a:r>
          </a:p>
          <a:p>
            <a:pPr algn="l"/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ustomer-centricity</a:t>
            </a:r>
          </a:p>
        </p:txBody>
      </p:sp>
      <p:sp>
        <p:nvSpPr>
          <p:cNvPr id="44" name="Speech Bubble: Rectangle 43">
            <a:extLst>
              <a:ext uri="{FF2B5EF4-FFF2-40B4-BE49-F238E27FC236}">
                <a16:creationId xmlns:a16="http://schemas.microsoft.com/office/drawing/2014/main" id="{B96CEE2E-F2C4-4F85-B1CF-49B0EE41052C}"/>
              </a:ext>
            </a:extLst>
          </p:cNvPr>
          <p:cNvSpPr/>
          <p:nvPr/>
        </p:nvSpPr>
        <p:spPr>
          <a:xfrm>
            <a:off x="2912534" y="3377860"/>
            <a:ext cx="1530772" cy="740327"/>
          </a:xfrm>
          <a:prstGeom prst="wedgeRectCallout">
            <a:avLst>
              <a:gd name="adj1" fmla="val -4996"/>
              <a:gd name="adj2" fmla="val -6388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mindset:</a:t>
            </a:r>
          </a:p>
          <a:p>
            <a:pPr algn="l"/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pairing a product or component is better than producing a new one</a:t>
            </a:r>
          </a:p>
        </p:txBody>
      </p:sp>
      <p:sp>
        <p:nvSpPr>
          <p:cNvPr id="50" name="Speech Bubble: Rectangle 49">
            <a:extLst>
              <a:ext uri="{FF2B5EF4-FFF2-40B4-BE49-F238E27FC236}">
                <a16:creationId xmlns:a16="http://schemas.microsoft.com/office/drawing/2014/main" id="{D54C465C-B0CB-4C3C-9526-3440AB225554}"/>
              </a:ext>
            </a:extLst>
          </p:cNvPr>
          <p:cNvSpPr/>
          <p:nvPr/>
        </p:nvSpPr>
        <p:spPr>
          <a:xfrm>
            <a:off x="3979538" y="2510670"/>
            <a:ext cx="1530772" cy="564423"/>
          </a:xfrm>
          <a:prstGeom prst="wedgeRectCallout">
            <a:avLst>
              <a:gd name="adj1" fmla="val 34827"/>
              <a:gd name="adj2" fmla="val -6205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behaviour:</a:t>
            </a:r>
          </a:p>
          <a:p>
            <a:pPr algn="l"/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pply circular design criteria</a:t>
            </a:r>
          </a:p>
        </p:txBody>
      </p:sp>
      <p:sp>
        <p:nvSpPr>
          <p:cNvPr id="51" name="Speech Bubble: Rectangle 50">
            <a:extLst>
              <a:ext uri="{FF2B5EF4-FFF2-40B4-BE49-F238E27FC236}">
                <a16:creationId xmlns:a16="http://schemas.microsoft.com/office/drawing/2014/main" id="{AB3AA68E-C75D-4EBE-962D-FAC776C417A1}"/>
              </a:ext>
            </a:extLst>
          </p:cNvPr>
          <p:cNvSpPr/>
          <p:nvPr/>
        </p:nvSpPr>
        <p:spPr>
          <a:xfrm>
            <a:off x="6061561" y="3909817"/>
            <a:ext cx="2306806" cy="1691065"/>
          </a:xfrm>
          <a:prstGeom prst="wedgeRectCallout">
            <a:avLst>
              <a:gd name="adj1" fmla="val 14861"/>
              <a:gd name="adj2" fmla="val -6325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planning-related activiti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dentify change management lead/champio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evelop future-state vision of company cultur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an culture change programme, including key activities and mileston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Speech Bubble: Rectangle 53">
            <a:extLst>
              <a:ext uri="{FF2B5EF4-FFF2-40B4-BE49-F238E27FC236}">
                <a16:creationId xmlns:a16="http://schemas.microsoft.com/office/drawing/2014/main" id="{0A127D35-3356-4EB4-B7D6-E2978B641948}"/>
              </a:ext>
            </a:extLst>
          </p:cNvPr>
          <p:cNvSpPr/>
          <p:nvPr/>
        </p:nvSpPr>
        <p:spPr>
          <a:xfrm>
            <a:off x="8813749" y="3909817"/>
            <a:ext cx="2306806" cy="1691065"/>
          </a:xfrm>
          <a:prstGeom prst="wedgeRectCallout">
            <a:avLst>
              <a:gd name="adj1" fmla="val 14861"/>
              <a:gd name="adj2" fmla="val -6325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 engagement-related activiti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tart internal communications around change programme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rganise kick-off eve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duct regular status update session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evelop supporting incentiv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676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1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4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CULTURE GAP ANALYSIS</a:t>
            </a: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Tool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1976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9E2721-75C9-49A4-9496-D1F5D7D2B7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74313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9E2721-75C9-49A4-9496-D1F5D7D2B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44E8407-B18D-4A4D-9BA6-13DB899B9E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B63040-BF18-4A15-B3DE-1F2A4BE8A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: Culture Gap Analysis (1/2)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43AA0-2A04-473B-9A7B-861D749642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11D06A4-BF0F-448A-82B9-5D4E026B8D31}"/>
              </a:ext>
            </a:extLst>
          </p:cNvPr>
          <p:cNvGraphicFramePr>
            <a:graphicFrameLocks noGrp="1"/>
          </p:cNvGraphicFramePr>
          <p:nvPr/>
        </p:nvGraphicFramePr>
        <p:xfrm>
          <a:off x="656569" y="1236943"/>
          <a:ext cx="10821036" cy="494151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98428">
                  <a:extLst>
                    <a:ext uri="{9D8B030D-6E8A-4147-A177-3AD203B41FA5}">
                      <a16:colId xmlns:a16="http://schemas.microsoft.com/office/drawing/2014/main" val="2231157980"/>
                    </a:ext>
                  </a:extLst>
                </a:gridCol>
                <a:gridCol w="1708584">
                  <a:extLst>
                    <a:ext uri="{9D8B030D-6E8A-4147-A177-3AD203B41FA5}">
                      <a16:colId xmlns:a16="http://schemas.microsoft.com/office/drawing/2014/main" val="1233269790"/>
                    </a:ext>
                  </a:extLst>
                </a:gridCol>
                <a:gridCol w="1898428">
                  <a:extLst>
                    <a:ext uri="{9D8B030D-6E8A-4147-A177-3AD203B41FA5}">
                      <a16:colId xmlns:a16="http://schemas.microsoft.com/office/drawing/2014/main" val="980171078"/>
                    </a:ext>
                  </a:extLst>
                </a:gridCol>
                <a:gridCol w="1708584">
                  <a:extLst>
                    <a:ext uri="{9D8B030D-6E8A-4147-A177-3AD203B41FA5}">
                      <a16:colId xmlns:a16="http://schemas.microsoft.com/office/drawing/2014/main" val="1970884438"/>
                    </a:ext>
                  </a:extLst>
                </a:gridCol>
                <a:gridCol w="1898428">
                  <a:extLst>
                    <a:ext uri="{9D8B030D-6E8A-4147-A177-3AD203B41FA5}">
                      <a16:colId xmlns:a16="http://schemas.microsoft.com/office/drawing/2014/main" val="2419203565"/>
                    </a:ext>
                  </a:extLst>
                </a:gridCol>
                <a:gridCol w="1708584">
                  <a:extLst>
                    <a:ext uri="{9D8B030D-6E8A-4147-A177-3AD203B41FA5}">
                      <a16:colId xmlns:a16="http://schemas.microsoft.com/office/drawing/2014/main" val="297758057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noProof="0" dirty="0">
                          <a:latin typeface="+mj-lt"/>
                        </a:rPr>
                        <a:t>Values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latin typeface="+mj-lt"/>
                        </a:rPr>
                        <a:t>Maturity level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dirty="0">
                          <a:latin typeface="+mj-lt"/>
                        </a:rPr>
                        <a:t>Mindset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latin typeface="+mj-lt"/>
                        </a:rPr>
                        <a:t>Maturity level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dirty="0">
                          <a:latin typeface="+mj-lt"/>
                        </a:rPr>
                        <a:t>Behaviors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dirty="0">
                          <a:latin typeface="+mj-lt"/>
                        </a:rPr>
                        <a:t>Maturity level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082586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r>
                        <a:rPr lang="en-US" sz="800" i="1" noProof="0" dirty="0">
                          <a:latin typeface="+mj-lt"/>
                        </a:rPr>
                        <a:t>Example:</a:t>
                      </a:r>
                    </a:p>
                    <a:p>
                      <a:r>
                        <a:rPr lang="en-US" sz="800" i="1" noProof="0" dirty="0">
                          <a:latin typeface="+mj-lt"/>
                        </a:rPr>
                        <a:t>Sustainability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800" i="1" noProof="0" dirty="0">
                          <a:latin typeface="+mj-lt"/>
                        </a:rPr>
                        <a:t>Example:</a:t>
                      </a:r>
                    </a:p>
                    <a:p>
                      <a:r>
                        <a:rPr lang="en-US" sz="800" i="1" noProof="0" dirty="0">
                          <a:latin typeface="+mj-lt"/>
                        </a:rPr>
                        <a:t>Things that increase client value are prioritized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800" i="1" noProof="0" dirty="0">
                          <a:latin typeface="+mj-lt"/>
                        </a:rPr>
                        <a:t>Example:</a:t>
                      </a:r>
                    </a:p>
                    <a:p>
                      <a:r>
                        <a:rPr lang="en-US" sz="800" i="1" noProof="0" dirty="0">
                          <a:latin typeface="+mj-lt"/>
                        </a:rPr>
                        <a:t>Share know-how and experience across functions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5293445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0506264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6539454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2683927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1408035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9839020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0028264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2781989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8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5232529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5DB4CA47-C15C-4412-B8C0-14FF4E27FCA4}"/>
              </a:ext>
            </a:extLst>
          </p:cNvPr>
          <p:cNvGrpSpPr/>
          <p:nvPr/>
        </p:nvGrpSpPr>
        <p:grpSpPr>
          <a:xfrm>
            <a:off x="656569" y="776817"/>
            <a:ext cx="9528435" cy="439311"/>
            <a:chOff x="335129" y="527824"/>
            <a:chExt cx="7146326" cy="329483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AB2640A-A54D-4816-B515-CF959ED911E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5129" y="527824"/>
              <a:ext cx="346444" cy="329483"/>
              <a:chOff x="3568580" y="1327236"/>
              <a:chExt cx="1864959" cy="1773657"/>
            </a:xfrm>
          </p:grpSpPr>
          <p:pic>
            <p:nvPicPr>
              <p:cNvPr id="16" name="Picture 5" descr="iceberg.png">
                <a:extLst>
                  <a:ext uri="{FF2B5EF4-FFF2-40B4-BE49-F238E27FC236}">
                    <a16:creationId xmlns:a16="http://schemas.microsoft.com/office/drawing/2014/main" id="{8DAE6C3F-66DA-4B46-A882-57638473E6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duotone>
                  <a:prstClr val="black"/>
                  <a:srgbClr val="00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23817" y="1327236"/>
                <a:ext cx="1338865" cy="1773657"/>
              </a:xfrm>
              <a:prstGeom prst="rect">
                <a:avLst/>
              </a:prstGeom>
            </p:spPr>
          </p:pic>
          <p:cxnSp>
            <p:nvCxnSpPr>
              <p:cNvPr id="17" name="Straight Connector 6">
                <a:extLst>
                  <a:ext uri="{FF2B5EF4-FFF2-40B4-BE49-F238E27FC236}">
                    <a16:creationId xmlns:a16="http://schemas.microsoft.com/office/drawing/2014/main" id="{D6313611-D2B4-453B-BC8A-05B35C175D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68580" y="2132195"/>
                <a:ext cx="1864959" cy="0"/>
              </a:xfrm>
              <a:prstGeom prst="line">
                <a:avLst/>
              </a:prstGeom>
              <a:noFill/>
              <a:ln w="12700" cap="rnd" cmpd="sng" algn="ctr">
                <a:solidFill>
                  <a:srgbClr val="2A4366"/>
                </a:solidFill>
                <a:prstDash val="solid"/>
              </a:ln>
              <a:effectLst/>
            </p:spPr>
          </p:cxn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02A51AD-4C12-4562-B491-A12FC943BB37}"/>
                </a:ext>
              </a:extLst>
            </p:cNvPr>
            <p:cNvSpPr txBox="1"/>
            <p:nvPr/>
          </p:nvSpPr>
          <p:spPr>
            <a:xfrm>
              <a:off x="782249" y="527824"/>
              <a:ext cx="6699206" cy="32948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228589" indent="-228589" defTabSz="1219140">
                <a:buFontTx/>
                <a:buAutoNum type="arabicPeriod"/>
                <a:defRPr/>
              </a:pPr>
              <a:r>
                <a:rPr lang="en-US" sz="1067" dirty="0">
                  <a:solidFill>
                    <a:srgbClr val="000000"/>
                  </a:solidFill>
                  <a:latin typeface="+mj-lt"/>
                </a:rPr>
                <a:t>Write down company-level cultural aspects (values, mindsets, behaviors) you think are relevant for the circular business model you consider</a:t>
              </a:r>
            </a:p>
            <a:p>
              <a:pPr marL="228589" indent="-228589" defTabSz="1219140">
                <a:buFontTx/>
                <a:buAutoNum type="arabicPeriod"/>
                <a:defRPr/>
              </a:pPr>
              <a:r>
                <a:rPr lang="en-US" sz="1067" dirty="0">
                  <a:solidFill>
                    <a:srgbClr val="000000"/>
                  </a:solidFill>
                  <a:latin typeface="+mj-lt"/>
                </a:rPr>
                <a:t>Assess your maturity level in those cultural aspects 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49B32A-48DE-4B35-8B4B-B1B4CAE733D4}"/>
              </a:ext>
            </a:extLst>
          </p:cNvPr>
          <p:cNvGrpSpPr/>
          <p:nvPr/>
        </p:nvGrpSpPr>
        <p:grpSpPr>
          <a:xfrm>
            <a:off x="2641114" y="1578367"/>
            <a:ext cx="8788380" cy="4410341"/>
            <a:chOff x="2641113" y="1578364"/>
            <a:chExt cx="8788380" cy="4410341"/>
          </a:xfrm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3F1534B5-F55F-475B-BD04-DA18DEC9F886}"/>
                </a:ext>
              </a:extLst>
            </p:cNvPr>
            <p:cNvGrpSpPr/>
            <p:nvPr/>
          </p:nvGrpSpPr>
          <p:grpSpPr>
            <a:xfrm>
              <a:off x="2726097" y="1578364"/>
              <a:ext cx="8703396" cy="4410341"/>
              <a:chOff x="2590357" y="1109163"/>
              <a:chExt cx="6189114" cy="3307756"/>
            </a:xfrm>
          </p:grpSpPr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D519060A-B548-4C84-A32C-71F3A33027DF}"/>
                  </a:ext>
                </a:extLst>
              </p:cNvPr>
              <p:cNvGrpSpPr/>
              <p:nvPr/>
            </p:nvGrpSpPr>
            <p:grpSpPr>
              <a:xfrm>
                <a:off x="2590357" y="1109163"/>
                <a:ext cx="6189114" cy="3307756"/>
                <a:chOff x="2590357" y="1109163"/>
                <a:chExt cx="6189114" cy="3307756"/>
              </a:xfrm>
            </p:grpSpPr>
            <p:grpSp>
              <p:nvGrpSpPr>
                <p:cNvPr id="23" name="Group 22">
                  <a:extLst>
                    <a:ext uri="{FF2B5EF4-FFF2-40B4-BE49-F238E27FC236}">
                      <a16:creationId xmlns:a16="http://schemas.microsoft.com/office/drawing/2014/main" id="{7E0477D9-0707-4900-80DE-097077E8EFA5}"/>
                    </a:ext>
                  </a:extLst>
                </p:cNvPr>
                <p:cNvGrpSpPr/>
                <p:nvPr/>
              </p:nvGrpSpPr>
              <p:grpSpPr>
                <a:xfrm>
                  <a:off x="2597179" y="1340996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24" name="Straight Connector 23">
                    <a:extLst>
                      <a:ext uri="{FF2B5EF4-FFF2-40B4-BE49-F238E27FC236}">
                        <a16:creationId xmlns:a16="http://schemas.microsoft.com/office/drawing/2014/main" id="{6D437FD7-EA29-4947-9BF5-469CFF6633B7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5" name="Straight Connector 24">
                    <a:extLst>
                      <a:ext uri="{FF2B5EF4-FFF2-40B4-BE49-F238E27FC236}">
                        <a16:creationId xmlns:a16="http://schemas.microsoft.com/office/drawing/2014/main" id="{D7A95FC5-83D4-49E2-97BD-CAADD9591FC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6" name="Straight Connector 25">
                    <a:extLst>
                      <a:ext uri="{FF2B5EF4-FFF2-40B4-BE49-F238E27FC236}">
                        <a16:creationId xmlns:a16="http://schemas.microsoft.com/office/drawing/2014/main" id="{716C3EC5-E6D5-4DA6-BE8A-02CF2E8A135C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7" name="Straight Connector 26">
                    <a:extLst>
                      <a:ext uri="{FF2B5EF4-FFF2-40B4-BE49-F238E27FC236}">
                        <a16:creationId xmlns:a16="http://schemas.microsoft.com/office/drawing/2014/main" id="{D6F3C24D-B41C-4C06-93FC-E12FDF0816A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5DD7B93D-A7B2-4738-B131-8AE6F1BBB29E}"/>
                    </a:ext>
                  </a:extLst>
                </p:cNvPr>
                <p:cNvGrpSpPr/>
                <p:nvPr/>
              </p:nvGrpSpPr>
              <p:grpSpPr>
                <a:xfrm>
                  <a:off x="5122090" y="1109163"/>
                  <a:ext cx="1096397" cy="299276"/>
                  <a:chOff x="3511639" y="1448406"/>
                  <a:chExt cx="1461862" cy="399035"/>
                </a:xfrm>
              </p:grpSpPr>
              <p:sp>
                <p:nvSpPr>
                  <p:cNvPr id="29" name="TextBox 63">
                    <a:extLst>
                      <a:ext uri="{FF2B5EF4-FFF2-40B4-BE49-F238E27FC236}">
                        <a16:creationId xmlns:a16="http://schemas.microsoft.com/office/drawing/2014/main" id="{2E839C31-1137-481E-B9FC-E9FAE1FE4A6A}"/>
                      </a:ext>
                    </a:extLst>
                  </p:cNvPr>
                  <p:cNvSpPr txBox="1"/>
                  <p:nvPr/>
                </p:nvSpPr>
                <p:spPr>
                  <a:xfrm>
                    <a:off x="3511639" y="1448409"/>
                    <a:ext cx="433726" cy="302250"/>
                  </a:xfrm>
                  <a:prstGeom prst="rect">
                    <a:avLst/>
                  </a:prstGeom>
                  <a:noFill/>
                </p:spPr>
                <p:txBody>
                  <a:bodyPr wrap="square" lIns="0" tIns="48000" rIns="0" bIns="48000" rtlCol="0">
                    <a:spAutoFit/>
                  </a:bodyPr>
                  <a:lstStyle/>
                  <a:p>
                    <a:pPr defTabSz="1219110">
                      <a:defRPr/>
                    </a:pPr>
                    <a:r>
                      <a:rPr lang="en-US" sz="667" dirty="0">
                        <a:solidFill>
                          <a:srgbClr val="000000"/>
                        </a:solidFill>
                        <a:latin typeface="+mj-lt"/>
                      </a:rPr>
                      <a:t>Not lived in company</a:t>
                    </a:r>
                  </a:p>
                </p:txBody>
              </p:sp>
              <p:sp>
                <p:nvSpPr>
                  <p:cNvPr id="30" name="TextBox 64">
                    <a:extLst>
                      <a:ext uri="{FF2B5EF4-FFF2-40B4-BE49-F238E27FC236}">
                        <a16:creationId xmlns:a16="http://schemas.microsoft.com/office/drawing/2014/main" id="{0CF5EAF0-06B5-43D5-822B-FCB3705D751F}"/>
                      </a:ext>
                    </a:extLst>
                  </p:cNvPr>
                  <p:cNvSpPr txBox="1"/>
                  <p:nvPr/>
                </p:nvSpPr>
                <p:spPr>
                  <a:xfrm>
                    <a:off x="4620678" y="1448406"/>
                    <a:ext cx="352823" cy="302250"/>
                  </a:xfrm>
                  <a:prstGeom prst="rect">
                    <a:avLst/>
                  </a:prstGeom>
                  <a:noFill/>
                </p:spPr>
                <p:txBody>
                  <a:bodyPr wrap="square" lIns="0" tIns="48000" rIns="0" bIns="48000" rtlCol="0">
                    <a:spAutoFit/>
                  </a:bodyPr>
                  <a:lstStyle/>
                  <a:p>
                    <a:pPr algn="r" defTabSz="1219110">
                      <a:defRPr/>
                    </a:pPr>
                    <a:r>
                      <a:rPr lang="en-US" sz="667" dirty="0">
                        <a:solidFill>
                          <a:srgbClr val="000000"/>
                        </a:solidFill>
                        <a:latin typeface="+mj-lt"/>
                      </a:rPr>
                      <a:t>At core of culture </a:t>
                    </a:r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02CBF389-0BE4-4F49-927A-491C252B2FCC}"/>
                      </a:ext>
                    </a:extLst>
                  </p:cNvPr>
                  <p:cNvGrpSpPr/>
                  <p:nvPr/>
                </p:nvGrpSpPr>
                <p:grpSpPr>
                  <a:xfrm>
                    <a:off x="3554344" y="1757514"/>
                    <a:ext cx="1300067" cy="89927"/>
                    <a:chOff x="6292118" y="1186851"/>
                    <a:chExt cx="1522145" cy="72364"/>
                  </a:xfrm>
                </p:grpSpPr>
                <p:cxnSp>
                  <p:nvCxnSpPr>
                    <p:cNvPr id="33" name="Straight Connector 32">
                      <a:extLst>
                        <a:ext uri="{FF2B5EF4-FFF2-40B4-BE49-F238E27FC236}">
                          <a16:creationId xmlns:a16="http://schemas.microsoft.com/office/drawing/2014/main" id="{7A0BC3B1-9034-47E1-88E4-364C0F954003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6616804" y="1186851"/>
                      <a:ext cx="0" cy="72364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34" name="Straight Connector 33">
                      <a:extLst>
                        <a:ext uri="{FF2B5EF4-FFF2-40B4-BE49-F238E27FC236}">
                          <a16:creationId xmlns:a16="http://schemas.microsoft.com/office/drawing/2014/main" id="{B63B860F-E848-482A-B517-1DA5D953E2E1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7431616" y="1186851"/>
                      <a:ext cx="0" cy="72364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35" name="Straight Connector 34">
                      <a:extLst>
                        <a:ext uri="{FF2B5EF4-FFF2-40B4-BE49-F238E27FC236}">
                          <a16:creationId xmlns:a16="http://schemas.microsoft.com/office/drawing/2014/main" id="{A4613A84-7A6F-46E1-A722-CDC010A91485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7053191" y="1186851"/>
                      <a:ext cx="0" cy="72364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36" name="Straight Connector 35">
                      <a:extLst>
                        <a:ext uri="{FF2B5EF4-FFF2-40B4-BE49-F238E27FC236}">
                          <a16:creationId xmlns:a16="http://schemas.microsoft.com/office/drawing/2014/main" id="{233FAC42-EB93-4812-BB27-18FD9F19F3E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6292118" y="1227702"/>
                      <a:ext cx="1522145" cy="0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diamond" w="med" len="med"/>
                      <a:tailEnd type="diamond" w="med" len="med"/>
                    </a:ln>
                    <a:effectLst/>
                  </p:spPr>
                </p:cxnSp>
              </p:grpSp>
              <p:sp>
                <p:nvSpPr>
                  <p:cNvPr id="32" name="TextBox 63">
                    <a:extLst>
                      <a:ext uri="{FF2B5EF4-FFF2-40B4-BE49-F238E27FC236}">
                        <a16:creationId xmlns:a16="http://schemas.microsoft.com/office/drawing/2014/main" id="{5133B77A-FFD5-44F0-8DE0-7C5C7279D406}"/>
                      </a:ext>
                    </a:extLst>
                  </p:cNvPr>
                  <p:cNvSpPr txBox="1"/>
                  <p:nvPr/>
                </p:nvSpPr>
                <p:spPr>
                  <a:xfrm>
                    <a:off x="4034052" y="1448409"/>
                    <a:ext cx="340652" cy="302250"/>
                  </a:xfrm>
                  <a:prstGeom prst="rect">
                    <a:avLst/>
                  </a:prstGeom>
                  <a:noFill/>
                </p:spPr>
                <p:txBody>
                  <a:bodyPr wrap="square" lIns="0" tIns="48000" rIns="0" bIns="48000" rtlCol="0">
                    <a:spAutoFit/>
                  </a:bodyPr>
                  <a:lstStyle/>
                  <a:p>
                    <a:pPr algn="ctr" defTabSz="1219110">
                      <a:defRPr/>
                    </a:pPr>
                    <a:r>
                      <a:rPr lang="en-US" sz="667" dirty="0">
                        <a:solidFill>
                          <a:srgbClr val="000000"/>
                        </a:solidFill>
                        <a:latin typeface="+mj-lt"/>
                      </a:rPr>
                      <a:t>Partly lived </a:t>
                    </a:r>
                  </a:p>
                </p:txBody>
              </p:sp>
            </p:grp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4C3A7952-7323-455C-A8AE-BE372458E2B2}"/>
                    </a:ext>
                  </a:extLst>
                </p:cNvPr>
                <p:cNvGrpSpPr/>
                <p:nvPr/>
              </p:nvGrpSpPr>
              <p:grpSpPr>
                <a:xfrm>
                  <a:off x="7683074" y="1109163"/>
                  <a:ext cx="1096397" cy="299276"/>
                  <a:chOff x="3511639" y="1448406"/>
                  <a:chExt cx="1461862" cy="399035"/>
                </a:xfrm>
              </p:grpSpPr>
              <p:sp>
                <p:nvSpPr>
                  <p:cNvPr id="38" name="TextBox 63">
                    <a:extLst>
                      <a:ext uri="{FF2B5EF4-FFF2-40B4-BE49-F238E27FC236}">
                        <a16:creationId xmlns:a16="http://schemas.microsoft.com/office/drawing/2014/main" id="{9A01C209-A6CB-4C53-814E-D59635FA490E}"/>
                      </a:ext>
                    </a:extLst>
                  </p:cNvPr>
                  <p:cNvSpPr txBox="1"/>
                  <p:nvPr/>
                </p:nvSpPr>
                <p:spPr>
                  <a:xfrm>
                    <a:off x="3511639" y="1448409"/>
                    <a:ext cx="433726" cy="302250"/>
                  </a:xfrm>
                  <a:prstGeom prst="rect">
                    <a:avLst/>
                  </a:prstGeom>
                  <a:noFill/>
                </p:spPr>
                <p:txBody>
                  <a:bodyPr wrap="square" lIns="0" tIns="48000" rIns="0" bIns="48000" rtlCol="0">
                    <a:spAutoFit/>
                  </a:bodyPr>
                  <a:lstStyle/>
                  <a:p>
                    <a:pPr defTabSz="1219110">
                      <a:defRPr/>
                    </a:pPr>
                    <a:r>
                      <a:rPr lang="en-US" sz="667" dirty="0">
                        <a:solidFill>
                          <a:srgbClr val="000000"/>
                        </a:solidFill>
                        <a:latin typeface="+mj-lt"/>
                      </a:rPr>
                      <a:t>Not lived in company</a:t>
                    </a:r>
                  </a:p>
                </p:txBody>
              </p:sp>
              <p:sp>
                <p:nvSpPr>
                  <p:cNvPr id="39" name="TextBox 64">
                    <a:extLst>
                      <a:ext uri="{FF2B5EF4-FFF2-40B4-BE49-F238E27FC236}">
                        <a16:creationId xmlns:a16="http://schemas.microsoft.com/office/drawing/2014/main" id="{70E03AB2-206A-4A42-84F9-B61EF80B7690}"/>
                      </a:ext>
                    </a:extLst>
                  </p:cNvPr>
                  <p:cNvSpPr txBox="1"/>
                  <p:nvPr/>
                </p:nvSpPr>
                <p:spPr>
                  <a:xfrm>
                    <a:off x="4620678" y="1448406"/>
                    <a:ext cx="352823" cy="302250"/>
                  </a:xfrm>
                  <a:prstGeom prst="rect">
                    <a:avLst/>
                  </a:prstGeom>
                  <a:noFill/>
                </p:spPr>
                <p:txBody>
                  <a:bodyPr wrap="square" lIns="0" tIns="48000" rIns="0" bIns="48000" rtlCol="0">
                    <a:spAutoFit/>
                  </a:bodyPr>
                  <a:lstStyle/>
                  <a:p>
                    <a:pPr algn="r" defTabSz="1219110">
                      <a:defRPr/>
                    </a:pPr>
                    <a:r>
                      <a:rPr lang="en-US" sz="667" dirty="0">
                        <a:solidFill>
                          <a:srgbClr val="000000"/>
                        </a:solidFill>
                        <a:latin typeface="+mj-lt"/>
                      </a:rPr>
                      <a:t>At core of culture </a:t>
                    </a:r>
                  </a:p>
                </p:txBody>
              </p:sp>
              <p:grpSp>
                <p:nvGrpSpPr>
                  <p:cNvPr id="40" name="Group 39">
                    <a:extLst>
                      <a:ext uri="{FF2B5EF4-FFF2-40B4-BE49-F238E27FC236}">
                        <a16:creationId xmlns:a16="http://schemas.microsoft.com/office/drawing/2014/main" id="{189CA63E-9D21-4A7F-A281-F3E67A46262D}"/>
                      </a:ext>
                    </a:extLst>
                  </p:cNvPr>
                  <p:cNvGrpSpPr/>
                  <p:nvPr/>
                </p:nvGrpSpPr>
                <p:grpSpPr>
                  <a:xfrm>
                    <a:off x="3554344" y="1757514"/>
                    <a:ext cx="1300067" cy="89927"/>
                    <a:chOff x="6292118" y="1186851"/>
                    <a:chExt cx="1522145" cy="72364"/>
                  </a:xfrm>
                </p:grpSpPr>
                <p:cxnSp>
                  <p:nvCxnSpPr>
                    <p:cNvPr id="42" name="Straight Connector 41">
                      <a:extLst>
                        <a:ext uri="{FF2B5EF4-FFF2-40B4-BE49-F238E27FC236}">
                          <a16:creationId xmlns:a16="http://schemas.microsoft.com/office/drawing/2014/main" id="{40E4F3AD-5046-416A-BF94-FFC1A68A9AAF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6616804" y="1186851"/>
                      <a:ext cx="0" cy="72364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43" name="Straight Connector 42">
                      <a:extLst>
                        <a:ext uri="{FF2B5EF4-FFF2-40B4-BE49-F238E27FC236}">
                          <a16:creationId xmlns:a16="http://schemas.microsoft.com/office/drawing/2014/main" id="{E1A2CB37-3830-490A-A9FF-278F6F01EE1A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7431616" y="1186851"/>
                      <a:ext cx="0" cy="72364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44" name="Straight Connector 43">
                      <a:extLst>
                        <a:ext uri="{FF2B5EF4-FFF2-40B4-BE49-F238E27FC236}">
                          <a16:creationId xmlns:a16="http://schemas.microsoft.com/office/drawing/2014/main" id="{BCCB1B9D-6B16-4636-95BB-82D16CFBBF61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7053191" y="1186851"/>
                      <a:ext cx="0" cy="72364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45" name="Straight Connector 44">
                      <a:extLst>
                        <a:ext uri="{FF2B5EF4-FFF2-40B4-BE49-F238E27FC236}">
                          <a16:creationId xmlns:a16="http://schemas.microsoft.com/office/drawing/2014/main" id="{D4EBDF05-D54A-4892-A212-B4508DF1721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6292118" y="1227702"/>
                      <a:ext cx="1522145" cy="0"/>
                    </a:xfrm>
                    <a:prstGeom prst="line">
                      <a:avLst/>
                    </a:prstGeom>
                    <a:solidFill>
                      <a:schemeClr val="bg1"/>
                    </a:solidFill>
                    <a:ln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diamond" w="med" len="med"/>
                      <a:tailEnd type="diamond" w="med" len="med"/>
                    </a:ln>
                    <a:effectLst/>
                  </p:spPr>
                </p:cxnSp>
              </p:grpSp>
              <p:sp>
                <p:nvSpPr>
                  <p:cNvPr id="41" name="TextBox 63">
                    <a:extLst>
                      <a:ext uri="{FF2B5EF4-FFF2-40B4-BE49-F238E27FC236}">
                        <a16:creationId xmlns:a16="http://schemas.microsoft.com/office/drawing/2014/main" id="{D8033499-1055-4CF0-B401-1C39F0A0B151}"/>
                      </a:ext>
                    </a:extLst>
                  </p:cNvPr>
                  <p:cNvSpPr txBox="1"/>
                  <p:nvPr/>
                </p:nvSpPr>
                <p:spPr>
                  <a:xfrm>
                    <a:off x="4034052" y="1448409"/>
                    <a:ext cx="340652" cy="302250"/>
                  </a:xfrm>
                  <a:prstGeom prst="rect">
                    <a:avLst/>
                  </a:prstGeom>
                  <a:noFill/>
                </p:spPr>
                <p:txBody>
                  <a:bodyPr wrap="square" lIns="0" tIns="48000" rIns="0" bIns="48000" rtlCol="0">
                    <a:spAutoFit/>
                  </a:bodyPr>
                  <a:lstStyle/>
                  <a:p>
                    <a:pPr algn="ctr" defTabSz="1219110">
                      <a:defRPr/>
                    </a:pPr>
                    <a:r>
                      <a:rPr lang="en-US" sz="667" dirty="0">
                        <a:solidFill>
                          <a:srgbClr val="000000"/>
                        </a:solidFill>
                        <a:latin typeface="+mj-lt"/>
                      </a:rPr>
                      <a:t>Partly lived </a:t>
                    </a:r>
                  </a:p>
                </p:txBody>
              </p:sp>
            </p:grp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541CA6DF-DF54-46D9-8AE5-11E998DB890A}"/>
                    </a:ext>
                  </a:extLst>
                </p:cNvPr>
                <p:cNvGrpSpPr/>
                <p:nvPr/>
              </p:nvGrpSpPr>
              <p:grpSpPr>
                <a:xfrm>
                  <a:off x="2597179" y="1616126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47" name="Straight Connector 46">
                    <a:extLst>
                      <a:ext uri="{FF2B5EF4-FFF2-40B4-BE49-F238E27FC236}">
                        <a16:creationId xmlns:a16="http://schemas.microsoft.com/office/drawing/2014/main" id="{24A2BE59-D26F-42D1-893F-DAECC39EBF19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3B9B7890-CE82-4EDC-9F2D-7DC48F3C88D2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9" name="Straight Connector 48">
                    <a:extLst>
                      <a:ext uri="{FF2B5EF4-FFF2-40B4-BE49-F238E27FC236}">
                        <a16:creationId xmlns:a16="http://schemas.microsoft.com/office/drawing/2014/main" id="{F8F9B10C-BDB2-4BB3-9EA2-015364CCB845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0" name="Straight Connector 49">
                    <a:extLst>
                      <a:ext uri="{FF2B5EF4-FFF2-40B4-BE49-F238E27FC236}">
                        <a16:creationId xmlns:a16="http://schemas.microsoft.com/office/drawing/2014/main" id="{32CC3E6B-9C9A-4788-B4AF-778A31B17C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51" name="Group 50">
                  <a:extLst>
                    <a:ext uri="{FF2B5EF4-FFF2-40B4-BE49-F238E27FC236}">
                      <a16:creationId xmlns:a16="http://schemas.microsoft.com/office/drawing/2014/main" id="{E6297AFE-35D0-4F8F-AED7-6EF3B3A1C516}"/>
                    </a:ext>
                  </a:extLst>
                </p:cNvPr>
                <p:cNvGrpSpPr/>
                <p:nvPr/>
              </p:nvGrpSpPr>
              <p:grpSpPr>
                <a:xfrm>
                  <a:off x="2597179" y="2004739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52" name="Straight Connector 51">
                    <a:extLst>
                      <a:ext uri="{FF2B5EF4-FFF2-40B4-BE49-F238E27FC236}">
                        <a16:creationId xmlns:a16="http://schemas.microsoft.com/office/drawing/2014/main" id="{C9A67B57-9629-4D67-A35B-EFE837958BE5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3" name="Straight Connector 52">
                    <a:extLst>
                      <a:ext uri="{FF2B5EF4-FFF2-40B4-BE49-F238E27FC236}">
                        <a16:creationId xmlns:a16="http://schemas.microsoft.com/office/drawing/2014/main" id="{6C10204A-8816-4E73-A912-415202A1558C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4" name="Straight Connector 53">
                    <a:extLst>
                      <a:ext uri="{FF2B5EF4-FFF2-40B4-BE49-F238E27FC236}">
                        <a16:creationId xmlns:a16="http://schemas.microsoft.com/office/drawing/2014/main" id="{F22CC02C-2968-484A-BD9B-C422D0EC82A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5" name="Straight Connector 54">
                    <a:extLst>
                      <a:ext uri="{FF2B5EF4-FFF2-40B4-BE49-F238E27FC236}">
                        <a16:creationId xmlns:a16="http://schemas.microsoft.com/office/drawing/2014/main" id="{672AE949-370E-45A6-A37F-551A304ADF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3818B8B0-E6D6-49EF-A9D5-758D5D01B112}"/>
                    </a:ext>
                  </a:extLst>
                </p:cNvPr>
                <p:cNvGrpSpPr/>
                <p:nvPr/>
              </p:nvGrpSpPr>
              <p:grpSpPr>
                <a:xfrm>
                  <a:off x="2597179" y="2393353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57" name="Straight Connector 56">
                    <a:extLst>
                      <a:ext uri="{FF2B5EF4-FFF2-40B4-BE49-F238E27FC236}">
                        <a16:creationId xmlns:a16="http://schemas.microsoft.com/office/drawing/2014/main" id="{429FBD5C-DD83-458B-BA1B-1955F4899E1D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67FC533B-95C9-458B-B219-623B007C553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EC12AEAA-226E-4968-AF63-CA128C2BEEB4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6916D37B-B57F-4C05-90A2-56C2FAACFD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92A921D2-CD6E-4F46-9E91-B60C41751FD8}"/>
                    </a:ext>
                  </a:extLst>
                </p:cNvPr>
                <p:cNvGrpSpPr/>
                <p:nvPr/>
              </p:nvGrpSpPr>
              <p:grpSpPr>
                <a:xfrm>
                  <a:off x="2593768" y="2781966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FDD2C468-D371-4297-913F-C3E07BD78FB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87F85CF8-C931-4C8B-87E5-39D9C95D668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77CE43E8-B1C6-4270-BE83-9B2ECB8ADFF4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FBBD9400-243F-4611-A1F8-14C2D83308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7ABFC1F8-6259-45C9-A37E-D79CA3ED228A}"/>
                    </a:ext>
                  </a:extLst>
                </p:cNvPr>
                <p:cNvGrpSpPr/>
                <p:nvPr/>
              </p:nvGrpSpPr>
              <p:grpSpPr>
                <a:xfrm>
                  <a:off x="5157531" y="1616126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2FB40F5A-BF23-4016-BFAD-0B8015E588C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DC43EFBD-D27E-49D1-9178-5F5B2C842260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5E144B3C-77B7-4FC7-86A3-9C6C06021F81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C2A07420-AED2-442A-9EEC-5C88E0F870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34BAAF3A-4611-46BD-B256-C3D91A59C80F}"/>
                    </a:ext>
                  </a:extLst>
                </p:cNvPr>
                <p:cNvGrpSpPr/>
                <p:nvPr/>
              </p:nvGrpSpPr>
              <p:grpSpPr>
                <a:xfrm>
                  <a:off x="5157531" y="2004739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E29A8A51-3D05-42EB-8DD3-6AAE6221D46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AAA72DBD-EF50-4F87-A87F-A00B1BFD5B3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75D94520-F6DD-4437-A5B7-23FBEED3F0D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C0CA1173-84B4-4B3C-B5C6-3198A75DD7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CED2FCF8-912E-4DF6-8547-20E7F6AF4F90}"/>
                    </a:ext>
                  </a:extLst>
                </p:cNvPr>
                <p:cNvGrpSpPr/>
                <p:nvPr/>
              </p:nvGrpSpPr>
              <p:grpSpPr>
                <a:xfrm>
                  <a:off x="5157531" y="2393353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108DFF0F-B5A8-4D70-8DAA-17AA08EF01A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1007451-0C30-4C98-AB38-83974C75B92C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BF869127-EB31-40ED-9B95-D0F21E6DF37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F9D2261B-912F-4EF4-ADC3-3E1F8D3DAC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81" name="Group 80">
                  <a:extLst>
                    <a:ext uri="{FF2B5EF4-FFF2-40B4-BE49-F238E27FC236}">
                      <a16:creationId xmlns:a16="http://schemas.microsoft.com/office/drawing/2014/main" id="{00C254C5-7430-4556-B4FB-55AF12D42CE8}"/>
                    </a:ext>
                  </a:extLst>
                </p:cNvPr>
                <p:cNvGrpSpPr/>
                <p:nvPr/>
              </p:nvGrpSpPr>
              <p:grpSpPr>
                <a:xfrm>
                  <a:off x="5154120" y="2781966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53BCE167-FA56-4A91-B10C-8712D78ECA89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5F965981-3375-4814-9009-1AC7BE6A6A12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D13D0C5F-43CF-4541-93B3-A5557C8C2709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D3309338-82AB-4C39-AE06-712E72349DA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86" name="Group 85">
                  <a:extLst>
                    <a:ext uri="{FF2B5EF4-FFF2-40B4-BE49-F238E27FC236}">
                      <a16:creationId xmlns:a16="http://schemas.microsoft.com/office/drawing/2014/main" id="{0F23BFA9-BE88-4DE2-8931-B86B1F561BE7}"/>
                    </a:ext>
                  </a:extLst>
                </p:cNvPr>
                <p:cNvGrpSpPr/>
                <p:nvPr/>
              </p:nvGrpSpPr>
              <p:grpSpPr>
                <a:xfrm>
                  <a:off x="7719706" y="1620478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C0D683F3-7A30-47A7-BFE8-445DF86D28C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04D74490-0E9C-4A84-9544-4C201F8F5446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AD6A4B6C-F799-4B14-AACC-1278BBE91D5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3003A6C4-9056-44B0-B673-605112A0C61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91" name="Group 90">
                  <a:extLst>
                    <a:ext uri="{FF2B5EF4-FFF2-40B4-BE49-F238E27FC236}">
                      <a16:creationId xmlns:a16="http://schemas.microsoft.com/office/drawing/2014/main" id="{3CE62C4B-C748-4C53-BA80-CD8EDA21CAA0}"/>
                    </a:ext>
                  </a:extLst>
                </p:cNvPr>
                <p:cNvGrpSpPr/>
                <p:nvPr/>
              </p:nvGrpSpPr>
              <p:grpSpPr>
                <a:xfrm>
                  <a:off x="7719706" y="2009091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7C837377-1F9E-4073-8CB2-0994D480EA8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825F09BC-1353-44EA-8F25-59F2E171461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5D9979B1-1750-442F-954B-426B8DBBB2A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78651410-DECE-4EBA-B997-B75562B6A27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96" name="Group 95">
                  <a:extLst>
                    <a:ext uri="{FF2B5EF4-FFF2-40B4-BE49-F238E27FC236}">
                      <a16:creationId xmlns:a16="http://schemas.microsoft.com/office/drawing/2014/main" id="{7FAF6EF5-7218-4F23-9BCD-91BDCF4B1F92}"/>
                    </a:ext>
                  </a:extLst>
                </p:cNvPr>
                <p:cNvGrpSpPr/>
                <p:nvPr/>
              </p:nvGrpSpPr>
              <p:grpSpPr>
                <a:xfrm>
                  <a:off x="7719706" y="2397704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1119C75C-E502-47B0-BA29-3C02AF9F89C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C8AF0A57-DADE-4196-BD91-A4A08681BD9C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2D205818-83AE-404A-ACE5-5D74BB98B57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4D11DF35-E991-4055-B054-57D0BBADF91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01" name="Group 100">
                  <a:extLst>
                    <a:ext uri="{FF2B5EF4-FFF2-40B4-BE49-F238E27FC236}">
                      <a16:creationId xmlns:a16="http://schemas.microsoft.com/office/drawing/2014/main" id="{E1D420E3-E4E1-46D0-98A6-E9507BE05B44}"/>
                    </a:ext>
                  </a:extLst>
                </p:cNvPr>
                <p:cNvGrpSpPr/>
                <p:nvPr/>
              </p:nvGrpSpPr>
              <p:grpSpPr>
                <a:xfrm>
                  <a:off x="7716295" y="2786317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19823EC5-8F29-4069-A5FF-B7272A2D7BD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87206501-7839-466A-B1C8-B9395402969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E0672833-2605-48BC-9CDB-F52CF4D64CC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5BC0A849-126F-4F77-9EF9-1A6287885A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06" name="Group 105">
                  <a:extLst>
                    <a:ext uri="{FF2B5EF4-FFF2-40B4-BE49-F238E27FC236}">
                      <a16:creationId xmlns:a16="http://schemas.microsoft.com/office/drawing/2014/main" id="{1BC2F851-D85C-4A01-AC1A-97AA5544C23D}"/>
                    </a:ext>
                  </a:extLst>
                </p:cNvPr>
                <p:cNvGrpSpPr/>
                <p:nvPr/>
              </p:nvGrpSpPr>
              <p:grpSpPr>
                <a:xfrm>
                  <a:off x="2593768" y="3145560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C9461055-DDF8-46ED-8EEB-760DE04E8699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F64E4EFD-2074-48D9-AFAE-E25EE78632DE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88B3E7BC-60EB-496A-89F4-1D36853B8171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10" name="Straight Connector 109">
                    <a:extLst>
                      <a:ext uri="{FF2B5EF4-FFF2-40B4-BE49-F238E27FC236}">
                        <a16:creationId xmlns:a16="http://schemas.microsoft.com/office/drawing/2014/main" id="{74FB45A3-849D-4BB8-8280-D27E6D5EA53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11" name="Group 110">
                  <a:extLst>
                    <a:ext uri="{FF2B5EF4-FFF2-40B4-BE49-F238E27FC236}">
                      <a16:creationId xmlns:a16="http://schemas.microsoft.com/office/drawing/2014/main" id="{56385CAB-3ACB-45FF-BDAC-BAFD72D98038}"/>
                    </a:ext>
                  </a:extLst>
                </p:cNvPr>
                <p:cNvGrpSpPr/>
                <p:nvPr/>
              </p:nvGrpSpPr>
              <p:grpSpPr>
                <a:xfrm>
                  <a:off x="2593768" y="3534173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12" name="Straight Connector 111">
                    <a:extLst>
                      <a:ext uri="{FF2B5EF4-FFF2-40B4-BE49-F238E27FC236}">
                        <a16:creationId xmlns:a16="http://schemas.microsoft.com/office/drawing/2014/main" id="{AC9BC8BF-8223-4C5C-9AAD-EC64A67999CD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13" name="Straight Connector 112">
                    <a:extLst>
                      <a:ext uri="{FF2B5EF4-FFF2-40B4-BE49-F238E27FC236}">
                        <a16:creationId xmlns:a16="http://schemas.microsoft.com/office/drawing/2014/main" id="{91F249DA-C22B-479C-A17A-9D1B2ABEEEF5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14" name="Straight Connector 113">
                    <a:extLst>
                      <a:ext uri="{FF2B5EF4-FFF2-40B4-BE49-F238E27FC236}">
                        <a16:creationId xmlns:a16="http://schemas.microsoft.com/office/drawing/2014/main" id="{1A69E3A4-6D55-45E5-8A68-C8BE5AD33390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15" name="Straight Connector 114">
                    <a:extLst>
                      <a:ext uri="{FF2B5EF4-FFF2-40B4-BE49-F238E27FC236}">
                        <a16:creationId xmlns:a16="http://schemas.microsoft.com/office/drawing/2014/main" id="{16EC1074-6649-4678-945C-C1D78658A1E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16" name="Group 115">
                  <a:extLst>
                    <a:ext uri="{FF2B5EF4-FFF2-40B4-BE49-F238E27FC236}">
                      <a16:creationId xmlns:a16="http://schemas.microsoft.com/office/drawing/2014/main" id="{C02CA680-E41A-4581-9853-7F0CD0267083}"/>
                    </a:ext>
                  </a:extLst>
                </p:cNvPr>
                <p:cNvGrpSpPr/>
                <p:nvPr/>
              </p:nvGrpSpPr>
              <p:grpSpPr>
                <a:xfrm>
                  <a:off x="2593768" y="3922787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17" name="Straight Connector 116">
                    <a:extLst>
                      <a:ext uri="{FF2B5EF4-FFF2-40B4-BE49-F238E27FC236}">
                        <a16:creationId xmlns:a16="http://schemas.microsoft.com/office/drawing/2014/main" id="{B53A64F0-133C-4A40-BFD1-835B5573BC46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18" name="Straight Connector 117">
                    <a:extLst>
                      <a:ext uri="{FF2B5EF4-FFF2-40B4-BE49-F238E27FC236}">
                        <a16:creationId xmlns:a16="http://schemas.microsoft.com/office/drawing/2014/main" id="{D932D68A-2974-440B-BA4D-5656F626DD77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19" name="Straight Connector 118">
                    <a:extLst>
                      <a:ext uri="{FF2B5EF4-FFF2-40B4-BE49-F238E27FC236}">
                        <a16:creationId xmlns:a16="http://schemas.microsoft.com/office/drawing/2014/main" id="{1C937D1A-81DA-4830-997D-EC7D51FB17B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20" name="Straight Connector 119">
                    <a:extLst>
                      <a:ext uri="{FF2B5EF4-FFF2-40B4-BE49-F238E27FC236}">
                        <a16:creationId xmlns:a16="http://schemas.microsoft.com/office/drawing/2014/main" id="{E112581E-0713-468C-9B99-24456231BFC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C1786310-E6A5-4832-9426-009A3F6FE27A}"/>
                    </a:ext>
                  </a:extLst>
                </p:cNvPr>
                <p:cNvGrpSpPr/>
                <p:nvPr/>
              </p:nvGrpSpPr>
              <p:grpSpPr>
                <a:xfrm>
                  <a:off x="2590357" y="4311400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22" name="Straight Connector 121">
                    <a:extLst>
                      <a:ext uri="{FF2B5EF4-FFF2-40B4-BE49-F238E27FC236}">
                        <a16:creationId xmlns:a16="http://schemas.microsoft.com/office/drawing/2014/main" id="{13365DBB-77F8-49A5-BACE-69C9EB228A5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23" name="Straight Connector 122">
                    <a:extLst>
                      <a:ext uri="{FF2B5EF4-FFF2-40B4-BE49-F238E27FC236}">
                        <a16:creationId xmlns:a16="http://schemas.microsoft.com/office/drawing/2014/main" id="{A4E49FEB-8218-4A8E-9736-E5D677B6346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24" name="Straight Connector 123">
                    <a:extLst>
                      <a:ext uri="{FF2B5EF4-FFF2-40B4-BE49-F238E27FC236}">
                        <a16:creationId xmlns:a16="http://schemas.microsoft.com/office/drawing/2014/main" id="{7F316F26-D49B-41DD-9ED1-1A72721876C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25" name="Straight Connector 124">
                    <a:extLst>
                      <a:ext uri="{FF2B5EF4-FFF2-40B4-BE49-F238E27FC236}">
                        <a16:creationId xmlns:a16="http://schemas.microsoft.com/office/drawing/2014/main" id="{AFD4E305-6B47-4F20-BD7D-A491E8E8B1C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D61495CE-CA1A-417C-87AD-E01267C6215C}"/>
                    </a:ext>
                  </a:extLst>
                </p:cNvPr>
                <p:cNvGrpSpPr/>
                <p:nvPr/>
              </p:nvGrpSpPr>
              <p:grpSpPr>
                <a:xfrm>
                  <a:off x="5157530" y="3145560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27" name="Straight Connector 126">
                    <a:extLst>
                      <a:ext uri="{FF2B5EF4-FFF2-40B4-BE49-F238E27FC236}">
                        <a16:creationId xmlns:a16="http://schemas.microsoft.com/office/drawing/2014/main" id="{53472449-8282-4B4C-AF9B-F2BA2225BDE5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28" name="Straight Connector 127">
                    <a:extLst>
                      <a:ext uri="{FF2B5EF4-FFF2-40B4-BE49-F238E27FC236}">
                        <a16:creationId xmlns:a16="http://schemas.microsoft.com/office/drawing/2014/main" id="{D5C853D4-3306-474F-9F06-5008BC99A88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29" name="Straight Connector 128">
                    <a:extLst>
                      <a:ext uri="{FF2B5EF4-FFF2-40B4-BE49-F238E27FC236}">
                        <a16:creationId xmlns:a16="http://schemas.microsoft.com/office/drawing/2014/main" id="{2B692E2F-2451-457E-9EED-7B7AF08ADCD5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0" name="Straight Connector 129">
                    <a:extLst>
                      <a:ext uri="{FF2B5EF4-FFF2-40B4-BE49-F238E27FC236}">
                        <a16:creationId xmlns:a16="http://schemas.microsoft.com/office/drawing/2014/main" id="{AF40A55D-C13E-4C33-8114-03BB8B3A8B7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982DD36F-9AE0-4427-9DA0-D34B0136126D}"/>
                    </a:ext>
                  </a:extLst>
                </p:cNvPr>
                <p:cNvGrpSpPr/>
                <p:nvPr/>
              </p:nvGrpSpPr>
              <p:grpSpPr>
                <a:xfrm>
                  <a:off x="5157530" y="3534173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32" name="Straight Connector 131">
                    <a:extLst>
                      <a:ext uri="{FF2B5EF4-FFF2-40B4-BE49-F238E27FC236}">
                        <a16:creationId xmlns:a16="http://schemas.microsoft.com/office/drawing/2014/main" id="{1F89A863-3E1C-4547-8EAE-DBF69A20C48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3" name="Straight Connector 132">
                    <a:extLst>
                      <a:ext uri="{FF2B5EF4-FFF2-40B4-BE49-F238E27FC236}">
                        <a16:creationId xmlns:a16="http://schemas.microsoft.com/office/drawing/2014/main" id="{E0F1EA92-01FD-449E-8AFF-7490068ACD59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4" name="Straight Connector 133">
                    <a:extLst>
                      <a:ext uri="{FF2B5EF4-FFF2-40B4-BE49-F238E27FC236}">
                        <a16:creationId xmlns:a16="http://schemas.microsoft.com/office/drawing/2014/main" id="{99AE22BC-C971-4A50-8F43-23E79916955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5" name="Straight Connector 134">
                    <a:extLst>
                      <a:ext uri="{FF2B5EF4-FFF2-40B4-BE49-F238E27FC236}">
                        <a16:creationId xmlns:a16="http://schemas.microsoft.com/office/drawing/2014/main" id="{6C43BB0E-53B7-49C8-B3A5-817E5018E1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36" name="Group 135">
                  <a:extLst>
                    <a:ext uri="{FF2B5EF4-FFF2-40B4-BE49-F238E27FC236}">
                      <a16:creationId xmlns:a16="http://schemas.microsoft.com/office/drawing/2014/main" id="{A90A0B2B-44A7-4971-A406-1A9A809DD07C}"/>
                    </a:ext>
                  </a:extLst>
                </p:cNvPr>
                <p:cNvGrpSpPr/>
                <p:nvPr/>
              </p:nvGrpSpPr>
              <p:grpSpPr>
                <a:xfrm>
                  <a:off x="5157530" y="3922787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37" name="Straight Connector 136">
                    <a:extLst>
                      <a:ext uri="{FF2B5EF4-FFF2-40B4-BE49-F238E27FC236}">
                        <a16:creationId xmlns:a16="http://schemas.microsoft.com/office/drawing/2014/main" id="{9739D78E-A216-47CD-8758-4CEAC890C285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8" name="Straight Connector 137">
                    <a:extLst>
                      <a:ext uri="{FF2B5EF4-FFF2-40B4-BE49-F238E27FC236}">
                        <a16:creationId xmlns:a16="http://schemas.microsoft.com/office/drawing/2014/main" id="{EE27D535-510C-4FD0-965A-5CACF40DE030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9" name="Straight Connector 138">
                    <a:extLst>
                      <a:ext uri="{FF2B5EF4-FFF2-40B4-BE49-F238E27FC236}">
                        <a16:creationId xmlns:a16="http://schemas.microsoft.com/office/drawing/2014/main" id="{B1352D46-70CC-4D64-9E61-2A26D370BF7D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BE2C3920-E866-4D0D-A4E7-9B52402448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41" name="Group 140">
                  <a:extLst>
                    <a:ext uri="{FF2B5EF4-FFF2-40B4-BE49-F238E27FC236}">
                      <a16:creationId xmlns:a16="http://schemas.microsoft.com/office/drawing/2014/main" id="{F1D74FE0-49E4-4818-9C60-ACBB6654BA56}"/>
                    </a:ext>
                  </a:extLst>
                </p:cNvPr>
                <p:cNvGrpSpPr/>
                <p:nvPr/>
              </p:nvGrpSpPr>
              <p:grpSpPr>
                <a:xfrm>
                  <a:off x="5154119" y="4311400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42" name="Straight Connector 141">
                    <a:extLst>
                      <a:ext uri="{FF2B5EF4-FFF2-40B4-BE49-F238E27FC236}">
                        <a16:creationId xmlns:a16="http://schemas.microsoft.com/office/drawing/2014/main" id="{9885A9AC-F43A-4899-8F6D-E1813B6E0A22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3" name="Straight Connector 142">
                    <a:extLst>
                      <a:ext uri="{FF2B5EF4-FFF2-40B4-BE49-F238E27FC236}">
                        <a16:creationId xmlns:a16="http://schemas.microsoft.com/office/drawing/2014/main" id="{91A27689-5F27-4D7E-9445-C79FB4981BBB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4" name="Straight Connector 143">
                    <a:extLst>
                      <a:ext uri="{FF2B5EF4-FFF2-40B4-BE49-F238E27FC236}">
                        <a16:creationId xmlns:a16="http://schemas.microsoft.com/office/drawing/2014/main" id="{A75702B3-2C66-4BA7-A407-D08CB994C497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5" name="Straight Connector 144">
                    <a:extLst>
                      <a:ext uri="{FF2B5EF4-FFF2-40B4-BE49-F238E27FC236}">
                        <a16:creationId xmlns:a16="http://schemas.microsoft.com/office/drawing/2014/main" id="{B8E62BDE-8F51-442A-80B5-AEB31E27E48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46" name="Group 145">
                  <a:extLst>
                    <a:ext uri="{FF2B5EF4-FFF2-40B4-BE49-F238E27FC236}">
                      <a16:creationId xmlns:a16="http://schemas.microsoft.com/office/drawing/2014/main" id="{A0489748-C1A9-4F32-9582-81AAB82647B3}"/>
                    </a:ext>
                  </a:extLst>
                </p:cNvPr>
                <p:cNvGrpSpPr/>
                <p:nvPr/>
              </p:nvGrpSpPr>
              <p:grpSpPr>
                <a:xfrm>
                  <a:off x="7718514" y="3183634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47" name="Straight Connector 146">
                    <a:extLst>
                      <a:ext uri="{FF2B5EF4-FFF2-40B4-BE49-F238E27FC236}">
                        <a16:creationId xmlns:a16="http://schemas.microsoft.com/office/drawing/2014/main" id="{354B9B9C-FA73-4113-86C1-1331BE7E3D46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8" name="Straight Connector 147">
                    <a:extLst>
                      <a:ext uri="{FF2B5EF4-FFF2-40B4-BE49-F238E27FC236}">
                        <a16:creationId xmlns:a16="http://schemas.microsoft.com/office/drawing/2014/main" id="{1C14DF20-F443-453A-AA73-6A5FB1C4A35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9" name="Straight Connector 148">
                    <a:extLst>
                      <a:ext uri="{FF2B5EF4-FFF2-40B4-BE49-F238E27FC236}">
                        <a16:creationId xmlns:a16="http://schemas.microsoft.com/office/drawing/2014/main" id="{7C167FEE-3E1D-4A91-B866-892AD6508507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0" name="Straight Connector 149">
                    <a:extLst>
                      <a:ext uri="{FF2B5EF4-FFF2-40B4-BE49-F238E27FC236}">
                        <a16:creationId xmlns:a16="http://schemas.microsoft.com/office/drawing/2014/main" id="{6664699C-112C-4280-A53D-6EF6C4BB63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51" name="Group 150">
                  <a:extLst>
                    <a:ext uri="{FF2B5EF4-FFF2-40B4-BE49-F238E27FC236}">
                      <a16:creationId xmlns:a16="http://schemas.microsoft.com/office/drawing/2014/main" id="{EC6C39FF-2D77-4056-A0E1-06CDC819BE7B}"/>
                    </a:ext>
                  </a:extLst>
                </p:cNvPr>
                <p:cNvGrpSpPr/>
                <p:nvPr/>
              </p:nvGrpSpPr>
              <p:grpSpPr>
                <a:xfrm>
                  <a:off x="7718514" y="3572247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52" name="Straight Connector 151">
                    <a:extLst>
                      <a:ext uri="{FF2B5EF4-FFF2-40B4-BE49-F238E27FC236}">
                        <a16:creationId xmlns:a16="http://schemas.microsoft.com/office/drawing/2014/main" id="{1183B7A1-2CDB-44DB-8007-253DAFDD508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3" name="Straight Connector 152">
                    <a:extLst>
                      <a:ext uri="{FF2B5EF4-FFF2-40B4-BE49-F238E27FC236}">
                        <a16:creationId xmlns:a16="http://schemas.microsoft.com/office/drawing/2014/main" id="{6AC63BBE-8D84-447E-B8AC-44514345C29A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4" name="Straight Connector 153">
                    <a:extLst>
                      <a:ext uri="{FF2B5EF4-FFF2-40B4-BE49-F238E27FC236}">
                        <a16:creationId xmlns:a16="http://schemas.microsoft.com/office/drawing/2014/main" id="{5A7C055C-0F3E-4E29-89FA-8E95391628F8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5" name="Straight Connector 154">
                    <a:extLst>
                      <a:ext uri="{FF2B5EF4-FFF2-40B4-BE49-F238E27FC236}">
                        <a16:creationId xmlns:a16="http://schemas.microsoft.com/office/drawing/2014/main" id="{16A04A79-EEA6-417F-88E7-25F4C263B5E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56" name="Group 155">
                  <a:extLst>
                    <a:ext uri="{FF2B5EF4-FFF2-40B4-BE49-F238E27FC236}">
                      <a16:creationId xmlns:a16="http://schemas.microsoft.com/office/drawing/2014/main" id="{F51065D9-2816-4234-82A2-3782AFE302B8}"/>
                    </a:ext>
                  </a:extLst>
                </p:cNvPr>
                <p:cNvGrpSpPr/>
                <p:nvPr/>
              </p:nvGrpSpPr>
              <p:grpSpPr>
                <a:xfrm>
                  <a:off x="7718514" y="3960861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57" name="Straight Connector 156">
                    <a:extLst>
                      <a:ext uri="{FF2B5EF4-FFF2-40B4-BE49-F238E27FC236}">
                        <a16:creationId xmlns:a16="http://schemas.microsoft.com/office/drawing/2014/main" id="{9357808C-3585-4AC1-8BD5-3ABEC81953B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8" name="Straight Connector 157">
                    <a:extLst>
                      <a:ext uri="{FF2B5EF4-FFF2-40B4-BE49-F238E27FC236}">
                        <a16:creationId xmlns:a16="http://schemas.microsoft.com/office/drawing/2014/main" id="{13204D22-85F4-41B9-8151-D0F949E77052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9" name="Straight Connector 158">
                    <a:extLst>
                      <a:ext uri="{FF2B5EF4-FFF2-40B4-BE49-F238E27FC236}">
                        <a16:creationId xmlns:a16="http://schemas.microsoft.com/office/drawing/2014/main" id="{FACB098C-5951-45C4-9D82-31DD8C5011B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60" name="Straight Connector 159">
                    <a:extLst>
                      <a:ext uri="{FF2B5EF4-FFF2-40B4-BE49-F238E27FC236}">
                        <a16:creationId xmlns:a16="http://schemas.microsoft.com/office/drawing/2014/main" id="{7F01D449-F359-45DF-8A63-E088CB31689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  <p:grpSp>
              <p:nvGrpSpPr>
                <p:cNvPr id="161" name="Group 160">
                  <a:extLst>
                    <a:ext uri="{FF2B5EF4-FFF2-40B4-BE49-F238E27FC236}">
                      <a16:creationId xmlns:a16="http://schemas.microsoft.com/office/drawing/2014/main" id="{115C965C-78E4-4670-AEEA-6445F3243FAF}"/>
                    </a:ext>
                  </a:extLst>
                </p:cNvPr>
                <p:cNvGrpSpPr/>
                <p:nvPr/>
              </p:nvGrpSpPr>
              <p:grpSpPr>
                <a:xfrm>
                  <a:off x="7715103" y="4349474"/>
                  <a:ext cx="975050" cy="67445"/>
                  <a:chOff x="6292118" y="1186851"/>
                  <a:chExt cx="1522145" cy="72364"/>
                </a:xfrm>
              </p:grpSpPr>
              <p:cxnSp>
                <p:nvCxnSpPr>
                  <p:cNvPr id="162" name="Straight Connector 161">
                    <a:extLst>
                      <a:ext uri="{FF2B5EF4-FFF2-40B4-BE49-F238E27FC236}">
                        <a16:creationId xmlns:a16="http://schemas.microsoft.com/office/drawing/2014/main" id="{F1B043E6-6F3C-43F3-89DD-9BDFCE48395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6616804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63" name="Straight Connector 162">
                    <a:extLst>
                      <a:ext uri="{FF2B5EF4-FFF2-40B4-BE49-F238E27FC236}">
                        <a16:creationId xmlns:a16="http://schemas.microsoft.com/office/drawing/2014/main" id="{19E7F386-BE83-4E5D-8834-701730F081A1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431616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64" name="Straight Connector 163">
                    <a:extLst>
                      <a:ext uri="{FF2B5EF4-FFF2-40B4-BE49-F238E27FC236}">
                        <a16:creationId xmlns:a16="http://schemas.microsoft.com/office/drawing/2014/main" id="{1B856E7F-8625-4304-9CF4-4E0A64C96A4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7053191" y="1186851"/>
                    <a:ext cx="0" cy="72364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65" name="Straight Connector 164">
                    <a:extLst>
                      <a:ext uri="{FF2B5EF4-FFF2-40B4-BE49-F238E27FC236}">
                        <a16:creationId xmlns:a16="http://schemas.microsoft.com/office/drawing/2014/main" id="{A80AD40C-E176-44C4-B0E9-72D629CC83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6292118" y="1227702"/>
                    <a:ext cx="1522145" cy="0"/>
                  </a:xfrm>
                  <a:prstGeom prst="line">
                    <a:avLst/>
                  </a:prstGeom>
                  <a:solidFill>
                    <a:schemeClr val="bg1"/>
                  </a:solidFill>
                  <a:ln w="12700" cap="flat" cmpd="sng" algn="ctr">
                    <a:solidFill>
                      <a:schemeClr val="bg1">
                        <a:lumMod val="75000"/>
                      </a:schemeClr>
                    </a:solidFill>
                    <a:prstDash val="solid"/>
                    <a:round/>
                    <a:headEnd type="diamond" w="med" len="med"/>
                    <a:tailEnd type="diamond" w="med" len="med"/>
                  </a:ln>
                  <a:effectLst/>
                </p:spPr>
              </p:cxnSp>
            </p:grpSp>
          </p:grpSp>
          <p:sp>
            <p:nvSpPr>
              <p:cNvPr id="167" name="Multiplication Sign 166">
                <a:extLst>
                  <a:ext uri="{FF2B5EF4-FFF2-40B4-BE49-F238E27FC236}">
                    <a16:creationId xmlns:a16="http://schemas.microsoft.com/office/drawing/2014/main" id="{80528BB7-5690-42CC-A6B6-E53D19781001}"/>
                  </a:ext>
                </a:extLst>
              </p:cNvPr>
              <p:cNvSpPr/>
              <p:nvPr/>
            </p:nvSpPr>
            <p:spPr>
              <a:xfrm>
                <a:off x="3035687" y="1322537"/>
                <a:ext cx="108000" cy="108000"/>
              </a:xfrm>
              <a:prstGeom prst="mathMultiply">
                <a:avLst/>
              </a:prstGeom>
              <a:solidFill>
                <a:schemeClr val="tx1"/>
              </a:solidFill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40">
                  <a:defRPr/>
                </a:pPr>
                <a:endParaRPr lang="en-US" sz="9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8" name="Multiplication Sign 167">
                <a:extLst>
                  <a:ext uri="{FF2B5EF4-FFF2-40B4-BE49-F238E27FC236}">
                    <a16:creationId xmlns:a16="http://schemas.microsoft.com/office/drawing/2014/main" id="{964C60EE-377C-4DD9-9AAA-C4C9B30DF8BB}"/>
                  </a:ext>
                </a:extLst>
              </p:cNvPr>
              <p:cNvSpPr/>
              <p:nvPr/>
            </p:nvSpPr>
            <p:spPr>
              <a:xfrm>
                <a:off x="5835420" y="1322537"/>
                <a:ext cx="108000" cy="108000"/>
              </a:xfrm>
              <a:prstGeom prst="mathMultiply">
                <a:avLst/>
              </a:prstGeom>
              <a:solidFill>
                <a:schemeClr val="tx1"/>
              </a:solidFill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40">
                  <a:defRPr/>
                </a:pPr>
                <a:endParaRPr lang="en-US" sz="9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9" name="Multiplication Sign 168">
                <a:extLst>
                  <a:ext uri="{FF2B5EF4-FFF2-40B4-BE49-F238E27FC236}">
                    <a16:creationId xmlns:a16="http://schemas.microsoft.com/office/drawing/2014/main" id="{4B64CBC7-EC3A-4C21-A317-E66C81475E5B}"/>
                  </a:ext>
                </a:extLst>
              </p:cNvPr>
              <p:cNvSpPr/>
              <p:nvPr/>
            </p:nvSpPr>
            <p:spPr>
              <a:xfrm>
                <a:off x="8156618" y="1322886"/>
                <a:ext cx="108000" cy="108000"/>
              </a:xfrm>
              <a:prstGeom prst="mathMultiply">
                <a:avLst/>
              </a:prstGeom>
              <a:solidFill>
                <a:schemeClr val="tx1"/>
              </a:solidFill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40">
                  <a:defRPr/>
                </a:pPr>
                <a:endParaRPr lang="en-US" sz="9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3366F52F-547A-4053-BB95-8FFB93F325FF}"/>
                </a:ext>
              </a:extLst>
            </p:cNvPr>
            <p:cNvGrpSpPr/>
            <p:nvPr/>
          </p:nvGrpSpPr>
          <p:grpSpPr>
            <a:xfrm>
              <a:off x="2641113" y="1578369"/>
              <a:ext cx="1541799" cy="302251"/>
              <a:chOff x="2565150" y="1109165"/>
              <a:chExt cx="1096396" cy="226688"/>
            </a:xfrm>
          </p:grpSpPr>
          <p:sp>
            <p:nvSpPr>
              <p:cNvPr id="183" name="TextBox 63">
                <a:extLst>
                  <a:ext uri="{FF2B5EF4-FFF2-40B4-BE49-F238E27FC236}">
                    <a16:creationId xmlns:a16="http://schemas.microsoft.com/office/drawing/2014/main" id="{DA986287-4F66-4CDF-820F-60FAC62E5773}"/>
                  </a:ext>
                </a:extLst>
              </p:cNvPr>
              <p:cNvSpPr txBox="1"/>
              <p:nvPr/>
            </p:nvSpPr>
            <p:spPr>
              <a:xfrm>
                <a:off x="2565150" y="1109166"/>
                <a:ext cx="325294" cy="226687"/>
              </a:xfrm>
              <a:prstGeom prst="rect">
                <a:avLst/>
              </a:prstGeom>
              <a:noFill/>
            </p:spPr>
            <p:txBody>
              <a:bodyPr wrap="square" lIns="0" tIns="48000" rIns="0" bIns="48000" rtlCol="0">
                <a:spAutoFit/>
              </a:bodyPr>
              <a:lstStyle/>
              <a:p>
                <a:pPr defTabSz="1219110">
                  <a:defRPr/>
                </a:pPr>
                <a:r>
                  <a:rPr lang="en-US" sz="667" dirty="0">
                    <a:solidFill>
                      <a:srgbClr val="000000"/>
                    </a:solidFill>
                    <a:latin typeface="+mj-lt"/>
                  </a:rPr>
                  <a:t>Not lived in company</a:t>
                </a:r>
              </a:p>
            </p:txBody>
          </p:sp>
          <p:sp>
            <p:nvSpPr>
              <p:cNvPr id="184" name="TextBox 64">
                <a:extLst>
                  <a:ext uri="{FF2B5EF4-FFF2-40B4-BE49-F238E27FC236}">
                    <a16:creationId xmlns:a16="http://schemas.microsoft.com/office/drawing/2014/main" id="{61E01AD3-1D34-427F-94AC-F32CF86E408F}"/>
                  </a:ext>
                </a:extLst>
              </p:cNvPr>
              <p:cNvSpPr txBox="1"/>
              <p:nvPr/>
            </p:nvSpPr>
            <p:spPr>
              <a:xfrm>
                <a:off x="3396929" y="1109166"/>
                <a:ext cx="264617" cy="226687"/>
              </a:xfrm>
              <a:prstGeom prst="rect">
                <a:avLst/>
              </a:prstGeom>
              <a:noFill/>
            </p:spPr>
            <p:txBody>
              <a:bodyPr wrap="square" lIns="0" tIns="48000" rIns="0" bIns="48000" rtlCol="0">
                <a:spAutoFit/>
              </a:bodyPr>
              <a:lstStyle/>
              <a:p>
                <a:pPr algn="r" defTabSz="1219110">
                  <a:defRPr/>
                </a:pPr>
                <a:r>
                  <a:rPr lang="en-US" sz="667" dirty="0">
                    <a:solidFill>
                      <a:srgbClr val="000000"/>
                    </a:solidFill>
                    <a:latin typeface="+mj-lt"/>
                  </a:rPr>
                  <a:t>At core of culture </a:t>
                </a:r>
              </a:p>
            </p:txBody>
          </p:sp>
          <p:sp>
            <p:nvSpPr>
              <p:cNvPr id="185" name="TextBox 63">
                <a:extLst>
                  <a:ext uri="{FF2B5EF4-FFF2-40B4-BE49-F238E27FC236}">
                    <a16:creationId xmlns:a16="http://schemas.microsoft.com/office/drawing/2014/main" id="{4CA1AD88-88F7-4D89-8F2F-FD45AA3F5362}"/>
                  </a:ext>
                </a:extLst>
              </p:cNvPr>
              <p:cNvSpPr txBox="1"/>
              <p:nvPr/>
            </p:nvSpPr>
            <p:spPr>
              <a:xfrm>
                <a:off x="2956959" y="1109165"/>
                <a:ext cx="255489" cy="226687"/>
              </a:xfrm>
              <a:prstGeom prst="rect">
                <a:avLst/>
              </a:prstGeom>
              <a:noFill/>
            </p:spPr>
            <p:txBody>
              <a:bodyPr wrap="square" lIns="0" tIns="48000" rIns="0" bIns="48000" rtlCol="0">
                <a:spAutoFit/>
              </a:bodyPr>
              <a:lstStyle/>
              <a:p>
                <a:pPr algn="ctr" defTabSz="1219110">
                  <a:defRPr/>
                </a:pPr>
                <a:r>
                  <a:rPr lang="en-US" sz="667" dirty="0">
                    <a:solidFill>
                      <a:srgbClr val="000000"/>
                    </a:solidFill>
                    <a:latin typeface="+mj-lt"/>
                  </a:rPr>
                  <a:t>Partly lived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4213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9E2721-75C9-49A4-9496-D1F5D7D2B7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72956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9E2721-75C9-49A4-9496-D1F5D7D2B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44E8407-B18D-4A4D-9BA6-13DB899B9E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B63040-BF18-4A15-B3DE-1F2A4BE8A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</p:spPr>
        <p:txBody>
          <a:bodyPr/>
          <a:lstStyle/>
          <a:p>
            <a:r>
              <a:rPr lang="en-US" dirty="0"/>
              <a:t>Template: Culture Gap Analysis (2/2)</a:t>
            </a:r>
            <a:br>
              <a:rPr lang="en-US" dirty="0"/>
            </a:b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135D93-9153-4D29-B81A-980314301D9F}"/>
              </a:ext>
            </a:extLst>
          </p:cNvPr>
          <p:cNvGrpSpPr/>
          <p:nvPr/>
        </p:nvGrpSpPr>
        <p:grpSpPr>
          <a:xfrm>
            <a:off x="656568" y="1261901"/>
            <a:ext cx="10836932" cy="5011902"/>
            <a:chOff x="431799" y="1261901"/>
            <a:chExt cx="11328402" cy="5011902"/>
          </a:xfrm>
        </p:grpSpPr>
        <p:sp>
          <p:nvSpPr>
            <p:cNvPr id="172" name="Rectangle: Rounded Corners 171">
              <a:extLst>
                <a:ext uri="{FF2B5EF4-FFF2-40B4-BE49-F238E27FC236}">
                  <a16:creationId xmlns:a16="http://schemas.microsoft.com/office/drawing/2014/main" id="{8D92189F-B548-405E-ABD8-97318801CB68}"/>
                </a:ext>
              </a:extLst>
            </p:cNvPr>
            <p:cNvSpPr/>
            <p:nvPr/>
          </p:nvSpPr>
          <p:spPr>
            <a:xfrm>
              <a:off x="434536" y="1261901"/>
              <a:ext cx="5468024" cy="510424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rgbClr val="006EB6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3" b="1" dirty="0">
                  <a:solidFill>
                    <a:schemeClr val="bg1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What activities are required for </a:t>
              </a:r>
              <a:r>
                <a:rPr lang="en-US" sz="1333" b="1" u="sng" dirty="0">
                  <a:solidFill>
                    <a:schemeClr val="bg1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lanning </a:t>
              </a:r>
              <a:r>
                <a:rPr lang="en-US" sz="1333" b="1" dirty="0">
                  <a:solidFill>
                    <a:schemeClr val="bg1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he culture change in your organization?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107355B2-EB41-48AB-9B97-023638A20CD2}"/>
                </a:ext>
              </a:extLst>
            </p:cNvPr>
            <p:cNvSpPr/>
            <p:nvPr/>
          </p:nvSpPr>
          <p:spPr>
            <a:xfrm>
              <a:off x="431799" y="1870515"/>
              <a:ext cx="5472291" cy="4403288"/>
            </a:xfrm>
            <a:prstGeom prst="rect">
              <a:avLst/>
            </a:prstGeom>
            <a:noFill/>
            <a:ln>
              <a:solidFill>
                <a:srgbClr val="006EB6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2334EE63-F2A1-4CA8-9F98-7D0BEA6AB534}"/>
                </a:ext>
              </a:extLst>
            </p:cNvPr>
            <p:cNvSpPr/>
            <p:nvPr/>
          </p:nvSpPr>
          <p:spPr>
            <a:xfrm>
              <a:off x="6039557" y="1870513"/>
              <a:ext cx="5720644" cy="4403288"/>
            </a:xfrm>
            <a:prstGeom prst="rect">
              <a:avLst/>
            </a:prstGeom>
            <a:noFill/>
            <a:ln>
              <a:solidFill>
                <a:srgbClr val="006EB6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75" name="Rectangle: Rounded Corners 174">
              <a:extLst>
                <a:ext uri="{FF2B5EF4-FFF2-40B4-BE49-F238E27FC236}">
                  <a16:creationId xmlns:a16="http://schemas.microsoft.com/office/drawing/2014/main" id="{A2CC9B83-BA2F-42CB-A542-78F2708AB969}"/>
                </a:ext>
              </a:extLst>
            </p:cNvPr>
            <p:cNvSpPr/>
            <p:nvPr/>
          </p:nvSpPr>
          <p:spPr>
            <a:xfrm>
              <a:off x="6044016" y="1261901"/>
              <a:ext cx="5716184" cy="510424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rgbClr val="006EB6"/>
              </a:solidFill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3" b="1" dirty="0">
                  <a:solidFill>
                    <a:schemeClr val="bg1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What activities are required for </a:t>
              </a:r>
              <a:r>
                <a:rPr lang="en-US" sz="1333" b="1" u="sng" dirty="0">
                  <a:solidFill>
                    <a:schemeClr val="bg1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engaging</a:t>
              </a:r>
              <a:r>
                <a:rPr lang="en-US" sz="1333" b="1" dirty="0">
                  <a:solidFill>
                    <a:schemeClr val="bg1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  your organization in the culture change? 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98ACE2A-52F7-46E7-A410-F3207C5A4A8C}"/>
                </a:ext>
              </a:extLst>
            </p:cNvPr>
            <p:cNvGrpSpPr/>
            <p:nvPr/>
          </p:nvGrpSpPr>
          <p:grpSpPr>
            <a:xfrm>
              <a:off x="564363" y="3376403"/>
              <a:ext cx="11102704" cy="2803288"/>
              <a:chOff x="423272" y="1898316"/>
              <a:chExt cx="8389786" cy="2102466"/>
            </a:xfrm>
          </p:grpSpPr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59948FDA-362D-4576-9416-A393685CBE12}"/>
                  </a:ext>
                </a:extLst>
              </p:cNvPr>
              <p:cNvSpPr/>
              <p:nvPr/>
            </p:nvSpPr>
            <p:spPr>
              <a:xfrm>
                <a:off x="423272" y="1898316"/>
                <a:ext cx="8389786" cy="2095778"/>
              </a:xfrm>
              <a:custGeom>
                <a:avLst/>
                <a:gdLst>
                  <a:gd name="connsiteX0" fmla="*/ 0 w 8389786"/>
                  <a:gd name="connsiteY0" fmla="*/ 2095778 h 2095778"/>
                  <a:gd name="connsiteX1" fmla="*/ 527281 w 8389786"/>
                  <a:gd name="connsiteY1" fmla="*/ 1715335 h 2095778"/>
                  <a:gd name="connsiteX2" fmla="*/ 1301518 w 8389786"/>
                  <a:gd name="connsiteY2" fmla="*/ 1735358 h 2095778"/>
                  <a:gd name="connsiteX3" fmla="*/ 2229267 w 8389786"/>
                  <a:gd name="connsiteY3" fmla="*/ 1421659 h 2095778"/>
                  <a:gd name="connsiteX4" fmla="*/ 3717670 w 8389786"/>
                  <a:gd name="connsiteY4" fmla="*/ 1461705 h 2095778"/>
                  <a:gd name="connsiteX5" fmla="*/ 4992490 w 8389786"/>
                  <a:gd name="connsiteY5" fmla="*/ 881028 h 2095778"/>
                  <a:gd name="connsiteX6" fmla="*/ 6954779 w 8389786"/>
                  <a:gd name="connsiteY6" fmla="*/ 707492 h 2095778"/>
                  <a:gd name="connsiteX7" fmla="*/ 8389786 w 8389786"/>
                  <a:gd name="connsiteY7" fmla="*/ 0 h 209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9786" h="2095778">
                    <a:moveTo>
                      <a:pt x="0" y="2095778"/>
                    </a:moveTo>
                    <a:cubicBezTo>
                      <a:pt x="155180" y="1935591"/>
                      <a:pt x="310361" y="1775405"/>
                      <a:pt x="527281" y="1715335"/>
                    </a:cubicBezTo>
                    <a:cubicBezTo>
                      <a:pt x="744201" y="1655265"/>
                      <a:pt x="1017854" y="1784304"/>
                      <a:pt x="1301518" y="1735358"/>
                    </a:cubicBezTo>
                    <a:cubicBezTo>
                      <a:pt x="1585182" y="1686412"/>
                      <a:pt x="1826575" y="1467268"/>
                      <a:pt x="2229267" y="1421659"/>
                    </a:cubicBezTo>
                    <a:cubicBezTo>
                      <a:pt x="2631959" y="1376050"/>
                      <a:pt x="3257133" y="1551810"/>
                      <a:pt x="3717670" y="1461705"/>
                    </a:cubicBezTo>
                    <a:cubicBezTo>
                      <a:pt x="4178207" y="1371600"/>
                      <a:pt x="4452972" y="1006730"/>
                      <a:pt x="4992490" y="881028"/>
                    </a:cubicBezTo>
                    <a:cubicBezTo>
                      <a:pt x="5532008" y="755326"/>
                      <a:pt x="6388563" y="854330"/>
                      <a:pt x="6954779" y="707492"/>
                    </a:cubicBezTo>
                    <a:cubicBezTo>
                      <a:pt x="7520995" y="560654"/>
                      <a:pt x="7955390" y="280327"/>
                      <a:pt x="8389786" y="0"/>
                    </a:cubicBezTo>
                  </a:path>
                </a:pathLst>
              </a:custGeom>
              <a:noFill/>
              <a:ln w="1905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txBody>
              <a:bodyPr rtlCol="0" anchor="ctr"/>
              <a:lstStyle/>
              <a:p>
                <a:pPr algn="ctr"/>
                <a:endParaRPr lang="en-US" sz="2667" dirty="0">
                  <a:latin typeface="+mj-lt"/>
                </a:endParaRPr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C99A536F-9120-4C6E-966F-82E6795D0A65}"/>
                  </a:ext>
                </a:extLst>
              </p:cNvPr>
              <p:cNvSpPr/>
              <p:nvPr/>
            </p:nvSpPr>
            <p:spPr>
              <a:xfrm>
                <a:off x="423272" y="1905004"/>
                <a:ext cx="8389786" cy="2095778"/>
              </a:xfrm>
              <a:custGeom>
                <a:avLst/>
                <a:gdLst>
                  <a:gd name="connsiteX0" fmla="*/ 0 w 8389786"/>
                  <a:gd name="connsiteY0" fmla="*/ 2095778 h 2095778"/>
                  <a:gd name="connsiteX1" fmla="*/ 527281 w 8389786"/>
                  <a:gd name="connsiteY1" fmla="*/ 1715335 h 2095778"/>
                  <a:gd name="connsiteX2" fmla="*/ 1301518 w 8389786"/>
                  <a:gd name="connsiteY2" fmla="*/ 1735358 h 2095778"/>
                  <a:gd name="connsiteX3" fmla="*/ 2229267 w 8389786"/>
                  <a:gd name="connsiteY3" fmla="*/ 1421659 h 2095778"/>
                  <a:gd name="connsiteX4" fmla="*/ 3717670 w 8389786"/>
                  <a:gd name="connsiteY4" fmla="*/ 1461705 h 2095778"/>
                  <a:gd name="connsiteX5" fmla="*/ 4992490 w 8389786"/>
                  <a:gd name="connsiteY5" fmla="*/ 881028 h 2095778"/>
                  <a:gd name="connsiteX6" fmla="*/ 6954779 w 8389786"/>
                  <a:gd name="connsiteY6" fmla="*/ 707492 h 2095778"/>
                  <a:gd name="connsiteX7" fmla="*/ 8389786 w 8389786"/>
                  <a:gd name="connsiteY7" fmla="*/ 0 h 2095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9786" h="2095778">
                    <a:moveTo>
                      <a:pt x="0" y="2095778"/>
                    </a:moveTo>
                    <a:cubicBezTo>
                      <a:pt x="155180" y="1935591"/>
                      <a:pt x="310361" y="1775405"/>
                      <a:pt x="527281" y="1715335"/>
                    </a:cubicBezTo>
                    <a:cubicBezTo>
                      <a:pt x="744201" y="1655265"/>
                      <a:pt x="1017854" y="1784304"/>
                      <a:pt x="1301518" y="1735358"/>
                    </a:cubicBezTo>
                    <a:cubicBezTo>
                      <a:pt x="1585182" y="1686412"/>
                      <a:pt x="1826575" y="1467268"/>
                      <a:pt x="2229267" y="1421659"/>
                    </a:cubicBezTo>
                    <a:cubicBezTo>
                      <a:pt x="2631959" y="1376050"/>
                      <a:pt x="3257133" y="1551810"/>
                      <a:pt x="3717670" y="1461705"/>
                    </a:cubicBezTo>
                    <a:cubicBezTo>
                      <a:pt x="4178207" y="1371600"/>
                      <a:pt x="4452972" y="1006730"/>
                      <a:pt x="4992490" y="881028"/>
                    </a:cubicBezTo>
                    <a:cubicBezTo>
                      <a:pt x="5532008" y="755326"/>
                      <a:pt x="6388563" y="854330"/>
                      <a:pt x="6954779" y="707492"/>
                    </a:cubicBezTo>
                    <a:cubicBezTo>
                      <a:pt x="7520995" y="560654"/>
                      <a:pt x="7955390" y="280327"/>
                      <a:pt x="8389786" y="0"/>
                    </a:cubicBezTo>
                  </a:path>
                </a:pathLst>
              </a:custGeom>
              <a:noFill/>
              <a:ln w="25400">
                <a:solidFill>
                  <a:srgbClr val="FFFFFF"/>
                </a:solidFill>
                <a:prstDash val="dash"/>
              </a:ln>
            </p:spPr>
            <p:txBody>
              <a:bodyPr rtlCol="0" anchor="ctr"/>
              <a:lstStyle/>
              <a:p>
                <a:pPr algn="ctr"/>
                <a:endParaRPr lang="en-US" sz="2667" dirty="0">
                  <a:latin typeface="+mj-lt"/>
                </a:endParaRPr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53F2117-92D8-4FB6-9D0A-9C719520EDF0}"/>
                </a:ext>
              </a:extLst>
            </p:cNvPr>
            <p:cNvSpPr/>
            <p:nvPr/>
          </p:nvSpPr>
          <p:spPr>
            <a:xfrm>
              <a:off x="5913222" y="1870513"/>
              <a:ext cx="120074" cy="4403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4A4F6F9-EAEA-4FFE-BEC4-651034EDE91C}"/>
              </a:ext>
            </a:extLst>
          </p:cNvPr>
          <p:cNvGrpSpPr/>
          <p:nvPr/>
        </p:nvGrpSpPr>
        <p:grpSpPr>
          <a:xfrm>
            <a:off x="656568" y="776815"/>
            <a:ext cx="9528435" cy="439311"/>
            <a:chOff x="335129" y="527824"/>
            <a:chExt cx="7146326" cy="32948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4AFA93F-8C5E-42BA-8CA3-D0E960B5DCB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5129" y="527824"/>
              <a:ext cx="346444" cy="329483"/>
              <a:chOff x="3568580" y="1327236"/>
              <a:chExt cx="1864959" cy="1773657"/>
            </a:xfrm>
          </p:grpSpPr>
          <p:pic>
            <p:nvPicPr>
              <p:cNvPr id="29" name="Picture 5" descr="iceberg.png">
                <a:extLst>
                  <a:ext uri="{FF2B5EF4-FFF2-40B4-BE49-F238E27FC236}">
                    <a16:creationId xmlns:a16="http://schemas.microsoft.com/office/drawing/2014/main" id="{2E319F5C-BB38-428D-98EA-C7C7B5749E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duotone>
                  <a:prstClr val="black"/>
                  <a:srgbClr val="00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23817" y="1327236"/>
                <a:ext cx="1338865" cy="1773657"/>
              </a:xfrm>
              <a:prstGeom prst="rect">
                <a:avLst/>
              </a:prstGeom>
            </p:spPr>
          </p:pic>
          <p:cxnSp>
            <p:nvCxnSpPr>
              <p:cNvPr id="30" name="Straight Connector 6">
                <a:extLst>
                  <a:ext uri="{FF2B5EF4-FFF2-40B4-BE49-F238E27FC236}">
                    <a16:creationId xmlns:a16="http://schemas.microsoft.com/office/drawing/2014/main" id="{376B14AA-6E8D-4CED-83B1-34AD33983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68580" y="2132195"/>
                <a:ext cx="1864959" cy="0"/>
              </a:xfrm>
              <a:prstGeom prst="line">
                <a:avLst/>
              </a:prstGeom>
              <a:noFill/>
              <a:ln w="12700" cap="rnd" cmpd="sng" algn="ctr">
                <a:solidFill>
                  <a:srgbClr val="2A4366"/>
                </a:solidFill>
                <a:prstDash val="solid"/>
              </a:ln>
              <a:effectLst/>
            </p:spPr>
          </p:cxn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7112BE9-C6E3-42E8-9BAC-1BF408CEDEF5}"/>
                </a:ext>
              </a:extLst>
            </p:cNvPr>
            <p:cNvSpPr txBox="1"/>
            <p:nvPr/>
          </p:nvSpPr>
          <p:spPr>
            <a:xfrm>
              <a:off x="782249" y="527824"/>
              <a:ext cx="6699206" cy="32948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228594" indent="-228594" defTabSz="1219170" fontAlgn="base">
                <a:spcBef>
                  <a:spcPct val="0"/>
                </a:spcBef>
                <a:spcAft>
                  <a:spcPct val="0"/>
                </a:spcAft>
                <a:buFontTx/>
                <a:buAutoNum type="arabicPeriod"/>
                <a:defRPr/>
              </a:pPr>
              <a:r>
                <a:rPr lang="en-US" sz="1067" dirty="0">
                  <a:solidFill>
                    <a:srgbClr val="000000"/>
                  </a:solidFill>
                  <a:latin typeface="+mj-lt"/>
                </a:rPr>
                <a:t>Write down planning and engagement-related activities that are required to bridge the identified culture gaps in your organization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0557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DqeKH9PnjyKYdsx4Ba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DqeKH9PnjyKYdsx4Ba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0wGsg8y3nljU8CeZTi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2GsNT5HAJYG3TsiML6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heme/theme1.xml><?xml version="1.0" encoding="utf-8"?>
<a:theme xmlns:a="http://schemas.openxmlformats.org/drawingml/2006/main" name="Nordic Innovation">
  <a:themeElements>
    <a:clrScheme name="Nordic Innovation">
      <a:dk1>
        <a:srgbClr val="000000"/>
      </a:dk1>
      <a:lt1>
        <a:sysClr val="window" lastClr="FFFFFF"/>
      </a:lt1>
      <a:dk2>
        <a:srgbClr val="BCBDE2"/>
      </a:dk2>
      <a:lt2>
        <a:srgbClr val="FFF0BE"/>
      </a:lt2>
      <a:accent1>
        <a:srgbClr val="385988"/>
      </a:accent1>
      <a:accent2>
        <a:srgbClr val="006EB6"/>
      </a:accent2>
      <a:accent3>
        <a:srgbClr val="ADCFF1"/>
      </a:accent3>
      <a:accent4>
        <a:srgbClr val="F42941"/>
      </a:accent4>
      <a:accent5>
        <a:srgbClr val="FBA9B3"/>
      </a:accent5>
      <a:accent6>
        <a:srgbClr val="FDCF41"/>
      </a:accent6>
      <a:hlink>
        <a:srgbClr val="006EB6"/>
      </a:hlink>
      <a:folHlink>
        <a:srgbClr val="ADCFF1"/>
      </a:folHlink>
    </a:clrScheme>
    <a:fontScheme name="Nordic Innovatio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dic Innovation" id="{4E27DE22-8D69-4343-B4FD-A90AC9F04A63}" vid="{07F6E0CA-B6D7-461E-A572-7274CDF9F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717AC7686615489B051784519862E6" ma:contentTypeVersion="9" ma:contentTypeDescription="Create a new document." ma:contentTypeScope="" ma:versionID="ed08ae27f0103113c31f643f1f13326d">
  <xsd:schema xmlns:xsd="http://www.w3.org/2001/XMLSchema" xmlns:xs="http://www.w3.org/2001/XMLSchema" xmlns:p="http://schemas.microsoft.com/office/2006/metadata/properties" xmlns:ns2="12368bc2-16db-41cd-8818-744de8f657e6" targetNamespace="http://schemas.microsoft.com/office/2006/metadata/properties" ma:root="true" ma:fieldsID="3d57010fd09968d1d6e2a91061c18147" ns2:_="">
    <xsd:import namespace="12368bc2-16db-41cd-8818-744de8f65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368bc2-16db-41cd-8818-744de8f657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334CD86-F6CE-408D-A2D8-350A8A106E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368bc2-16db-41cd-8818-744de8f65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149682-BE92-444D-B0DB-ED1565A647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96F947-8F07-4DCC-9C99-23B78D8E407B}">
  <ds:schemaRefs>
    <ds:schemaRef ds:uri="http://schemas.microsoft.com/office/2006/metadata/properties"/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12368bc2-16db-41cd-8818-744de8f657e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dic Innovation</Template>
  <TotalTime>113</TotalTime>
  <Words>384</Words>
  <Application>Microsoft Office PowerPoint</Application>
  <PresentationFormat>Widescreen</PresentationFormat>
  <Paragraphs>70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orbel</vt:lpstr>
      <vt:lpstr>Georgia</vt:lpstr>
      <vt:lpstr>Graphik Semibold</vt:lpstr>
      <vt:lpstr>Symbol</vt:lpstr>
      <vt:lpstr>Verdana</vt:lpstr>
      <vt:lpstr>Nordic Innovation</vt:lpstr>
      <vt:lpstr>think-cell Slide</vt:lpstr>
      <vt:lpstr>PowerPoint Presentation</vt:lpstr>
      <vt:lpstr>Culture gap analysis – introduction </vt:lpstr>
      <vt:lpstr>Culture gap analysis – example </vt:lpstr>
      <vt:lpstr>PowerPoint Presentation</vt:lpstr>
      <vt:lpstr>Template: Culture Gap Analysis (1/2) </vt:lpstr>
      <vt:lpstr>Template: Culture Gap Analysis (2/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åkansson, Martin</dc:creator>
  <cp:lastModifiedBy>Haugland, Silje</cp:lastModifiedBy>
  <cp:revision>3</cp:revision>
  <dcterms:created xsi:type="dcterms:W3CDTF">2019-09-24T09:38:23Z</dcterms:created>
  <dcterms:modified xsi:type="dcterms:W3CDTF">2020-10-23T11:5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717AC7686615489B051784519862E6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iteId">
    <vt:lpwstr>e0793d39-0939-496d-b129-198edd916feb</vt:lpwstr>
  </property>
  <property fmtid="{D5CDD505-2E9C-101B-9397-08002B2CF9AE}" pid="5" name="MSIP_Label_1bc0f418-96a4-4caf-9d7c-ccc5ec7f9d91_Owner">
    <vt:lpwstr>hanna.karlberg@accenture.com</vt:lpwstr>
  </property>
  <property fmtid="{D5CDD505-2E9C-101B-9397-08002B2CF9AE}" pid="6" name="MSIP_Label_1bc0f418-96a4-4caf-9d7c-ccc5ec7f9d91_SetDate">
    <vt:lpwstr>2019-11-12T14:47:54.6647092Z</vt:lpwstr>
  </property>
  <property fmtid="{D5CDD505-2E9C-101B-9397-08002B2CF9AE}" pid="7" name="MSIP_Label_1bc0f418-96a4-4caf-9d7c-ccc5ec7f9d91_Name">
    <vt:lpwstr>Unrestricted</vt:lpwstr>
  </property>
  <property fmtid="{D5CDD505-2E9C-101B-9397-08002B2CF9AE}" pid="8" name="MSIP_Label_1bc0f418-96a4-4caf-9d7c-ccc5ec7f9d91_Application">
    <vt:lpwstr>Microsoft Azure Information Protection</vt:lpwstr>
  </property>
  <property fmtid="{D5CDD505-2E9C-101B-9397-08002B2CF9AE}" pid="9" name="MSIP_Label_1bc0f418-96a4-4caf-9d7c-ccc5ec7f9d91_ActionId">
    <vt:lpwstr>0790bb20-0e7f-4123-8aef-f820a446bc69</vt:lpwstr>
  </property>
  <property fmtid="{D5CDD505-2E9C-101B-9397-08002B2CF9AE}" pid="10" name="MSIP_Label_1bc0f418-96a4-4caf-9d7c-ccc5ec7f9d91_Extended_MSFT_Method">
    <vt:lpwstr>Manual</vt:lpwstr>
  </property>
  <property fmtid="{D5CDD505-2E9C-101B-9397-08002B2CF9AE}" pid="11" name="Sensitivity">
    <vt:lpwstr>Unrestricted</vt:lpwstr>
  </property>
</Properties>
</file>